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charts/chart21.xml" ContentType="application/vnd.openxmlformats-officedocument.drawingml.chart+xml"/>
  <Override PartName="/ppt/tags/tag49.xml" ContentType="application/vnd.openxmlformats-officedocument.presentationml.tags+xml"/>
  <Override PartName="/ppt/charts/chart22.xml" ContentType="application/vnd.openxmlformats-officedocument.drawingml.chart+xml"/>
  <Override PartName="/ppt/tags/tag50.xml" ContentType="application/vnd.openxmlformats-officedocument.presentationml.tags+xml"/>
  <Override PartName="/ppt/charts/chart23.xml" ContentType="application/vnd.openxmlformats-officedocument.drawingml.chart+xml"/>
  <Override PartName="/ppt/tags/tag51.xml" ContentType="application/vnd.openxmlformats-officedocument.presentationml.tags+xml"/>
  <Override PartName="/ppt/charts/chart24.xml" ContentType="application/vnd.openxmlformats-officedocument.drawingml.chart+xml"/>
  <Override PartName="/ppt/tags/tag52.xml" ContentType="application/vnd.openxmlformats-officedocument.presentationml.tags+xml"/>
  <Override PartName="/ppt/charts/chart25.xml" ContentType="application/vnd.openxmlformats-officedocument.drawingml.chart+xml"/>
  <Override PartName="/ppt/tags/tag53.xml" ContentType="application/vnd.openxmlformats-officedocument.presentationml.tags+xml"/>
  <Override PartName="/ppt/charts/chart26.xml" ContentType="application/vnd.openxmlformats-officedocument.drawingml.chart+xml"/>
  <Override PartName="/ppt/tags/tag54.xml" ContentType="application/vnd.openxmlformats-officedocument.presentationml.tags+xml"/>
  <Override PartName="/ppt/charts/chart27.xml" ContentType="application/vnd.openxmlformats-officedocument.drawingml.chart+xml"/>
  <Override PartName="/ppt/tags/tag55.xml" ContentType="application/vnd.openxmlformats-officedocument.presentationml.tags+xml"/>
  <Override PartName="/ppt/charts/chart28.xml" ContentType="application/vnd.openxmlformats-officedocument.drawingml.chart+xml"/>
  <Override PartName="/ppt/tags/tag56.xml" ContentType="application/vnd.openxmlformats-officedocument.presentationml.tags+xml"/>
  <Override PartName="/ppt/charts/chart29.xml" ContentType="application/vnd.openxmlformats-officedocument.drawingml.chart+xml"/>
  <Override PartName="/ppt/tags/tag57.xml" ContentType="application/vnd.openxmlformats-officedocument.presentationml.tags+xml"/>
  <Override PartName="/ppt/charts/chart30.xml" ContentType="application/vnd.openxmlformats-officedocument.drawingml.chart+xml"/>
  <Override PartName="/ppt/tags/tag58.xml" ContentType="application/vnd.openxmlformats-officedocument.presentationml.tags+xml"/>
  <Override PartName="/ppt/charts/chart31.xml" ContentType="application/vnd.openxmlformats-officedocument.drawingml.chart+xml"/>
  <Override PartName="/ppt/tags/tag59.xml" ContentType="application/vnd.openxmlformats-officedocument.presentationml.tags+xml"/>
  <Override PartName="/ppt/charts/chart32.xml" ContentType="application/vnd.openxmlformats-officedocument.drawingml.chart+xml"/>
  <Override PartName="/ppt/tags/tag60.xml" ContentType="application/vnd.openxmlformats-officedocument.presentationml.tags+xml"/>
  <Override PartName="/ppt/charts/chart33.xml" ContentType="application/vnd.openxmlformats-officedocument.drawingml.chart+xml"/>
  <Override PartName="/ppt/tags/tag61.xml" ContentType="application/vnd.openxmlformats-officedocument.presentationml.tags+xml"/>
  <Override PartName="/ppt/charts/chart34.xml" ContentType="application/vnd.openxmlformats-officedocument.drawingml.chart+xml"/>
  <Override PartName="/ppt/tags/tag62.xml" ContentType="application/vnd.openxmlformats-officedocument.presentationml.tags+xml"/>
  <Override PartName="/ppt/charts/chart35.xml" ContentType="application/vnd.openxmlformats-officedocument.drawingml.chart+xml"/>
  <Override PartName="/ppt/tags/tag63.xml" ContentType="application/vnd.openxmlformats-officedocument.presentationml.tags+xml"/>
  <Override PartName="/ppt/charts/chart36.xml" ContentType="application/vnd.openxmlformats-officedocument.drawingml.chart+xml"/>
  <Override PartName="/ppt/tags/tag64.xml" ContentType="application/vnd.openxmlformats-officedocument.presentationml.tags+xml"/>
  <Override PartName="/ppt/charts/chart37.xml" ContentType="application/vnd.openxmlformats-officedocument.drawingml.chart+xml"/>
  <Override PartName="/ppt/tags/tag65.xml" ContentType="application/vnd.openxmlformats-officedocument.presentationml.tags+xml"/>
  <Override PartName="/ppt/charts/chart38.xml" ContentType="application/vnd.openxmlformats-officedocument.drawingml.chart+xml"/>
  <Override PartName="/ppt/tags/tag66.xml" ContentType="application/vnd.openxmlformats-officedocument.presentationml.tags+xml"/>
  <Override PartName="/ppt/charts/chart39.xml" ContentType="application/vnd.openxmlformats-officedocument.drawingml.chart+xml"/>
  <Override PartName="/ppt/tags/tag67.xml" ContentType="application/vnd.openxmlformats-officedocument.presentationml.tags+xml"/>
  <Override PartName="/ppt/charts/chart40.xml" ContentType="application/vnd.openxmlformats-officedocument.drawingml.chart+xml"/>
  <Override PartName="/ppt/tags/tag68.xml" ContentType="application/vnd.openxmlformats-officedocument.presentationml.tags+xml"/>
  <Override PartName="/ppt/charts/chart41.xml" ContentType="application/vnd.openxmlformats-officedocument.drawingml.chart+xml"/>
  <Override PartName="/ppt/tags/tag69.xml" ContentType="application/vnd.openxmlformats-officedocument.presentationml.tags+xml"/>
  <Override PartName="/ppt/charts/chart42.xml" ContentType="application/vnd.openxmlformats-officedocument.drawingml.chart+xml"/>
  <Override PartName="/ppt/tags/tag70.xml" ContentType="application/vnd.openxmlformats-officedocument.presentationml.tags+xml"/>
  <Override PartName="/ppt/charts/chart43.xml" ContentType="application/vnd.openxmlformats-officedocument.drawingml.chart+xml"/>
  <Override PartName="/ppt/tags/tag71.xml" ContentType="application/vnd.openxmlformats-officedocument.presentationml.tags+xml"/>
  <Override PartName="/ppt/charts/chart44.xml" ContentType="application/vnd.openxmlformats-officedocument.drawingml.chart+xml"/>
  <Override PartName="/ppt/tags/tag72.xml" ContentType="application/vnd.openxmlformats-officedocument.presentationml.tags+xml"/>
  <Override PartName="/ppt/charts/chart45.xml" ContentType="application/vnd.openxmlformats-officedocument.drawingml.chart+xml"/>
  <Override PartName="/ppt/tags/tag73.xml" ContentType="application/vnd.openxmlformats-officedocument.presentationml.tags+xml"/>
  <Override PartName="/ppt/charts/chart46.xml" ContentType="application/vnd.openxmlformats-officedocument.drawingml.chart+xml"/>
  <Override PartName="/ppt/tags/tag74.xml" ContentType="application/vnd.openxmlformats-officedocument.presentationml.tags+xml"/>
  <Override PartName="/ppt/charts/chart47.xml" ContentType="application/vnd.openxmlformats-officedocument.drawingml.chart+xml"/>
  <Override PartName="/ppt/tags/tag75.xml" ContentType="application/vnd.openxmlformats-officedocument.presentationml.tags+xml"/>
  <Override PartName="/ppt/charts/chart48.xml" ContentType="application/vnd.openxmlformats-officedocument.drawingml.chart+xml"/>
  <Override PartName="/ppt/tags/tag76.xml" ContentType="application/vnd.openxmlformats-officedocument.presentationml.tags+xml"/>
  <Override PartName="/ppt/charts/chart49.xml" ContentType="application/vnd.openxmlformats-officedocument.drawingml.chart+xml"/>
  <Override PartName="/ppt/tags/tag77.xml" ContentType="application/vnd.openxmlformats-officedocument.presentationml.tags+xml"/>
  <Override PartName="/ppt/charts/chart50.xml" ContentType="application/vnd.openxmlformats-officedocument.drawingml.chart+xml"/>
  <Override PartName="/ppt/tags/tag78.xml" ContentType="application/vnd.openxmlformats-officedocument.presentationml.tags+xml"/>
  <Override PartName="/ppt/charts/chart51.xml" ContentType="application/vnd.openxmlformats-officedocument.drawingml.chart+xml"/>
  <Override PartName="/ppt/tags/tag79.xml" ContentType="application/vnd.openxmlformats-officedocument.presentationml.tags+xml"/>
  <Override PartName="/ppt/charts/chart52.xml" ContentType="application/vnd.openxmlformats-officedocument.drawingml.chart+xml"/>
  <Override PartName="/ppt/tags/tag80.xml" ContentType="application/vnd.openxmlformats-officedocument.presentationml.tags+xml"/>
  <Override PartName="/ppt/charts/chart53.xml" ContentType="application/vnd.openxmlformats-officedocument.drawingml.chart+xml"/>
  <Override PartName="/ppt/tags/tag81.xml" ContentType="application/vnd.openxmlformats-officedocument.presentationml.tags+xml"/>
  <Override PartName="/ppt/charts/chart54.xml" ContentType="application/vnd.openxmlformats-officedocument.drawingml.chart+xml"/>
  <Override PartName="/ppt/tags/tag82.xml" ContentType="application/vnd.openxmlformats-officedocument.presentationml.tags+xml"/>
  <Override PartName="/ppt/charts/chart55.xml" ContentType="application/vnd.openxmlformats-officedocument.drawingml.chart+xml"/>
  <Override PartName="/ppt/tags/tag83.xml" ContentType="application/vnd.openxmlformats-officedocument.presentationml.tags+xml"/>
  <Override PartName="/ppt/charts/chart56.xml" ContentType="application/vnd.openxmlformats-officedocument.drawingml.chart+xml"/>
  <Override PartName="/ppt/tags/tag84.xml" ContentType="application/vnd.openxmlformats-officedocument.presentationml.tags+xml"/>
  <Override PartName="/ppt/charts/chart57.xml" ContentType="application/vnd.openxmlformats-officedocument.drawingml.chart+xml"/>
  <Override PartName="/ppt/tags/tag85.xml" ContentType="application/vnd.openxmlformats-officedocument.presentationml.tags+xml"/>
  <Override PartName="/ppt/charts/chart58.xml" ContentType="application/vnd.openxmlformats-officedocument.drawingml.chart+xml"/>
  <Override PartName="/ppt/tags/tag86.xml" ContentType="application/vnd.openxmlformats-officedocument.presentationml.tags+xml"/>
  <Override PartName="/ppt/charts/chart59.xml" ContentType="application/vnd.openxmlformats-officedocument.drawingml.chart+xml"/>
  <Override PartName="/ppt/tags/tag87.xml" ContentType="application/vnd.openxmlformats-officedocument.presentationml.tags+xml"/>
  <Override PartName="/ppt/charts/chart60.xml" ContentType="application/vnd.openxmlformats-officedocument.drawingml.chart+xml"/>
  <Override PartName="/ppt/tags/tag88.xml" ContentType="application/vnd.openxmlformats-officedocument.presentationml.tags+xml"/>
  <Override PartName="/ppt/charts/chart61.xml" ContentType="application/vnd.openxmlformats-officedocument.drawingml.chart+xml"/>
  <Override PartName="/ppt/tags/tag89.xml" ContentType="application/vnd.openxmlformats-officedocument.presentationml.tags+xml"/>
  <Override PartName="/ppt/charts/chart62.xml" ContentType="application/vnd.openxmlformats-officedocument.drawingml.chart+xml"/>
  <Override PartName="/ppt/tags/tag90.xml" ContentType="application/vnd.openxmlformats-officedocument.presentationml.tags+xml"/>
  <Override PartName="/ppt/charts/chart63.xml" ContentType="application/vnd.openxmlformats-officedocument.drawingml.chart+xml"/>
  <Override PartName="/ppt/tags/tag91.xml" ContentType="application/vnd.openxmlformats-officedocument.presentationml.tags+xml"/>
  <Override PartName="/ppt/charts/chart64.xml" ContentType="application/vnd.openxmlformats-officedocument.drawingml.chart+xml"/>
  <Override PartName="/ppt/tags/tag92.xml" ContentType="application/vnd.openxmlformats-officedocument.presentationml.tags+xml"/>
  <Override PartName="/ppt/charts/chart65.xml" ContentType="application/vnd.openxmlformats-officedocument.drawingml.chart+xml"/>
  <Override PartName="/ppt/tags/tag93.xml" ContentType="application/vnd.openxmlformats-officedocument.presentationml.tags+xml"/>
  <Override PartName="/ppt/charts/chart66.xml" ContentType="application/vnd.openxmlformats-officedocument.drawingml.chart+xml"/>
  <Override PartName="/ppt/tags/tag94.xml" ContentType="application/vnd.openxmlformats-officedocument.presentationml.tags+xml"/>
  <Override PartName="/ppt/charts/chart67.xml" ContentType="application/vnd.openxmlformats-officedocument.drawingml.chart+xml"/>
  <Override PartName="/ppt/tags/tag95.xml" ContentType="application/vnd.openxmlformats-officedocument.presentationml.tags+xml"/>
  <Override PartName="/ppt/charts/chart68.xml" ContentType="application/vnd.openxmlformats-officedocument.drawingml.chart+xml"/>
  <Override PartName="/ppt/tags/tag96.xml" ContentType="application/vnd.openxmlformats-officedocument.presentationml.tags+xml"/>
  <Override PartName="/ppt/charts/chart69.xml" ContentType="application/vnd.openxmlformats-officedocument.drawingml.chart+xml"/>
  <Override PartName="/ppt/tags/tag97.xml" ContentType="application/vnd.openxmlformats-officedocument.presentationml.tags+xml"/>
  <Override PartName="/ppt/charts/chart70.xml" ContentType="application/vnd.openxmlformats-officedocument.drawingml.chart+xml"/>
  <Override PartName="/ppt/tags/tag98.xml" ContentType="application/vnd.openxmlformats-officedocument.presentationml.tags+xml"/>
  <Override PartName="/ppt/charts/chart71.xml" ContentType="application/vnd.openxmlformats-officedocument.drawingml.chart+xml"/>
  <Override PartName="/ppt/tags/tag99.xml" ContentType="application/vnd.openxmlformats-officedocument.presentationml.tags+xml"/>
  <Override PartName="/ppt/charts/chart72.xml" ContentType="application/vnd.openxmlformats-officedocument.drawingml.chart+xml"/>
  <Override PartName="/ppt/tags/tag100.xml" ContentType="application/vnd.openxmlformats-officedocument.presentationml.tags+xml"/>
  <Override PartName="/ppt/charts/chart73.xml" ContentType="application/vnd.openxmlformats-officedocument.drawingml.chart+xml"/>
  <Override PartName="/ppt/tags/tag101.xml" ContentType="application/vnd.openxmlformats-officedocument.presentationml.tags+xml"/>
  <Override PartName="/ppt/charts/chart74.xml" ContentType="application/vnd.openxmlformats-officedocument.drawingml.chart+xml"/>
  <Override PartName="/ppt/tags/tag102.xml" ContentType="application/vnd.openxmlformats-officedocument.presentationml.tags+xml"/>
  <Override PartName="/ppt/charts/chart75.xml" ContentType="application/vnd.openxmlformats-officedocument.drawingml.chart+xml"/>
  <Override PartName="/ppt/tags/tag103.xml" ContentType="application/vnd.openxmlformats-officedocument.presentationml.tags+xml"/>
  <Override PartName="/ppt/charts/chart76.xml" ContentType="application/vnd.openxmlformats-officedocument.drawingml.chart+xml"/>
  <Override PartName="/ppt/tags/tag104.xml" ContentType="application/vnd.openxmlformats-officedocument.presentationml.tags+xml"/>
  <Override PartName="/ppt/charts/chart77.xml" ContentType="application/vnd.openxmlformats-officedocument.drawingml.chart+xml"/>
  <Override PartName="/ppt/tags/tag105.xml" ContentType="application/vnd.openxmlformats-officedocument.presentationml.tags+xml"/>
  <Override PartName="/ppt/charts/chart78.xml" ContentType="application/vnd.openxmlformats-officedocument.drawingml.chart+xml"/>
  <Override PartName="/ppt/tags/tag106.xml" ContentType="application/vnd.openxmlformats-officedocument.presentationml.tags+xml"/>
  <Override PartName="/ppt/charts/chart79.xml" ContentType="application/vnd.openxmlformats-officedocument.drawingml.chart+xml"/>
  <Override PartName="/ppt/tags/tag107.xml" ContentType="application/vnd.openxmlformats-officedocument.presentationml.tags+xml"/>
  <Override PartName="/ppt/charts/chart80.xml" ContentType="application/vnd.openxmlformats-officedocument.drawingml.chart+xml"/>
  <Override PartName="/ppt/tags/tag108.xml" ContentType="application/vnd.openxmlformats-officedocument.presentationml.tags+xml"/>
  <Override PartName="/ppt/charts/chart81.xml" ContentType="application/vnd.openxmlformats-officedocument.drawingml.chart+xml"/>
  <Override PartName="/ppt/tags/tag109.xml" ContentType="application/vnd.openxmlformats-officedocument.presentationml.tags+xml"/>
  <Override PartName="/ppt/charts/chart82.xml" ContentType="application/vnd.openxmlformats-officedocument.drawingml.chart+xml"/>
  <Override PartName="/ppt/tags/tag110.xml" ContentType="application/vnd.openxmlformats-officedocument.presentationml.tags+xml"/>
  <Override PartName="/ppt/charts/chart83.xml" ContentType="application/vnd.openxmlformats-officedocument.drawingml.chart+xml"/>
  <Override PartName="/ppt/tags/tag111.xml" ContentType="application/vnd.openxmlformats-officedocument.presentationml.tags+xml"/>
  <Override PartName="/ppt/charts/chart84.xml" ContentType="application/vnd.openxmlformats-officedocument.drawingml.chart+xml"/>
  <Override PartName="/ppt/tags/tag112.xml" ContentType="application/vnd.openxmlformats-officedocument.presentationml.tags+xml"/>
  <Override PartName="/ppt/charts/chart85.xml" ContentType="application/vnd.openxmlformats-officedocument.drawingml.chart+xml"/>
  <Override PartName="/ppt/tags/tag113.xml" ContentType="application/vnd.openxmlformats-officedocument.presentationml.tags+xml"/>
  <Override PartName="/ppt/charts/chart86.xml" ContentType="application/vnd.openxmlformats-officedocument.drawingml.chart+xml"/>
  <Override PartName="/ppt/tags/tag114.xml" ContentType="application/vnd.openxmlformats-officedocument.presentationml.tags+xml"/>
  <Override PartName="/ppt/charts/chart87.xml" ContentType="application/vnd.openxmlformats-officedocument.drawingml.chart+xml"/>
  <Override PartName="/ppt/tags/tag115.xml" ContentType="application/vnd.openxmlformats-officedocument.presentationml.tags+xml"/>
  <Override PartName="/ppt/charts/chart88.xml" ContentType="application/vnd.openxmlformats-officedocument.drawingml.chart+xml"/>
  <Override PartName="/ppt/tags/tag116.xml" ContentType="application/vnd.openxmlformats-officedocument.presentationml.tags+xml"/>
  <Override PartName="/ppt/charts/chart89.xml" ContentType="application/vnd.openxmlformats-officedocument.drawingml.chart+xml"/>
  <Override PartName="/ppt/tags/tag117.xml" ContentType="application/vnd.openxmlformats-officedocument.presentationml.tags+xml"/>
  <Override PartName="/ppt/charts/chart90.xml" ContentType="application/vnd.openxmlformats-officedocument.drawingml.chart+xml"/>
  <Override PartName="/ppt/tags/tag118.xml" ContentType="application/vnd.openxmlformats-officedocument.presentationml.tags+xml"/>
  <Override PartName="/ppt/charts/chart91.xml" ContentType="application/vnd.openxmlformats-officedocument.drawingml.chart+xml"/>
  <Override PartName="/ppt/tags/tag119.xml" ContentType="application/vnd.openxmlformats-officedocument.presentationml.tags+xml"/>
  <Override PartName="/ppt/charts/chart92.xml" ContentType="application/vnd.openxmlformats-officedocument.drawingml.chart+xml"/>
  <Override PartName="/ppt/tags/tag120.xml" ContentType="application/vnd.openxmlformats-officedocument.presentationml.tags+xml"/>
  <Override PartName="/ppt/charts/chart93.xml" ContentType="application/vnd.openxmlformats-officedocument.drawingml.chart+xml"/>
  <Override PartName="/ppt/tags/tag121.xml" ContentType="application/vnd.openxmlformats-officedocument.presentationml.tags+xml"/>
  <Override PartName="/ppt/charts/chart94.xml" ContentType="application/vnd.openxmlformats-officedocument.drawingml.chart+xml"/>
  <Override PartName="/ppt/tags/tag122.xml" ContentType="application/vnd.openxmlformats-officedocument.presentationml.tags+xml"/>
  <Override PartName="/ppt/charts/chart95.xml" ContentType="application/vnd.openxmlformats-officedocument.drawingml.chart+xml"/>
  <Override PartName="/ppt/tags/tag123.xml" ContentType="application/vnd.openxmlformats-officedocument.presentationml.tags+xml"/>
  <Override PartName="/ppt/charts/chart96.xml" ContentType="application/vnd.openxmlformats-officedocument.drawingml.chart+xml"/>
  <Override PartName="/ppt/tags/tag124.xml" ContentType="application/vnd.openxmlformats-officedocument.presentationml.tags+xml"/>
  <Override PartName="/ppt/charts/chart97.xml" ContentType="application/vnd.openxmlformats-officedocument.drawingml.chart+xml"/>
  <Override PartName="/ppt/tags/tag125.xml" ContentType="application/vnd.openxmlformats-officedocument.presentationml.tags+xml"/>
  <Override PartName="/ppt/charts/chart98.xml" ContentType="application/vnd.openxmlformats-officedocument.drawingml.chart+xml"/>
  <Override PartName="/ppt/tags/tag126.xml" ContentType="application/vnd.openxmlformats-officedocument.presentationml.tags+xml"/>
  <Override PartName="/ppt/charts/chart99.xml" ContentType="application/vnd.openxmlformats-officedocument.drawingml.chart+xml"/>
  <Override PartName="/ppt/tags/tag127.xml" ContentType="application/vnd.openxmlformats-officedocument.presentationml.tags+xml"/>
  <Override PartName="/ppt/charts/chart100.xml" ContentType="application/vnd.openxmlformats-officedocument.drawingml.chart+xml"/>
  <Override PartName="/ppt/tags/tag128.xml" ContentType="application/vnd.openxmlformats-officedocument.presentationml.tags+xml"/>
  <Override PartName="/ppt/charts/chart101.xml" ContentType="application/vnd.openxmlformats-officedocument.drawingml.chart+xml"/>
  <Override PartName="/ppt/tags/tag129.xml" ContentType="application/vnd.openxmlformats-officedocument.presentationml.tags+xml"/>
  <Override PartName="/ppt/charts/chart102.xml" ContentType="application/vnd.openxmlformats-officedocument.drawingml.chart+xml"/>
  <Override PartName="/ppt/tags/tag130.xml" ContentType="application/vnd.openxmlformats-officedocument.presentationml.tags+xml"/>
  <Override PartName="/ppt/charts/chart103.xml" ContentType="application/vnd.openxmlformats-officedocument.drawingml.chart+xml"/>
  <Override PartName="/ppt/tags/tag131.xml" ContentType="application/vnd.openxmlformats-officedocument.presentationml.tags+xml"/>
  <Override PartName="/ppt/charts/chart104.xml" ContentType="application/vnd.openxmlformats-officedocument.drawingml.chart+xml"/>
  <Override PartName="/ppt/tags/tag132.xml" ContentType="application/vnd.openxmlformats-officedocument.presentationml.tags+xml"/>
  <Override PartName="/ppt/charts/chart105.xml" ContentType="application/vnd.openxmlformats-officedocument.drawingml.chart+xml"/>
  <Override PartName="/ppt/tags/tag133.xml" ContentType="application/vnd.openxmlformats-officedocument.presentationml.tags+xml"/>
  <Override PartName="/ppt/charts/chart106.xml" ContentType="application/vnd.openxmlformats-officedocument.drawingml.chart+xml"/>
  <Override PartName="/ppt/tags/tag134.xml" ContentType="application/vnd.openxmlformats-officedocument.presentationml.tags+xml"/>
  <Override PartName="/ppt/charts/chart107.xml" ContentType="application/vnd.openxmlformats-officedocument.drawingml.chart+xml"/>
  <Override PartName="/ppt/tags/tag135.xml" ContentType="application/vnd.openxmlformats-officedocument.presentationml.tags+xml"/>
  <Override PartName="/ppt/charts/chart108.xml" ContentType="application/vnd.openxmlformats-officedocument.drawingml.chart+xml"/>
  <Override PartName="/ppt/tags/tag136.xml" ContentType="application/vnd.openxmlformats-officedocument.presentationml.tags+xml"/>
  <Override PartName="/ppt/charts/chart109.xml" ContentType="application/vnd.openxmlformats-officedocument.drawingml.chart+xml"/>
  <Override PartName="/ppt/tags/tag137.xml" ContentType="application/vnd.openxmlformats-officedocument.presentationml.tags+xml"/>
  <Override PartName="/ppt/charts/chart110.xml" ContentType="application/vnd.openxmlformats-officedocument.drawingml.chart+xml"/>
  <Override PartName="/ppt/tags/tag138.xml" ContentType="application/vnd.openxmlformats-officedocument.presentationml.tags+xml"/>
  <Override PartName="/ppt/charts/chart111.xml" ContentType="application/vnd.openxmlformats-officedocument.drawingml.chart+xml"/>
  <Override PartName="/ppt/tags/tag139.xml" ContentType="application/vnd.openxmlformats-officedocument.presentationml.tags+xml"/>
  <Override PartName="/ppt/charts/chart112.xml" ContentType="application/vnd.openxmlformats-officedocument.drawingml.chart+xml"/>
  <Override PartName="/ppt/tags/tag140.xml" ContentType="application/vnd.openxmlformats-officedocument.presentationml.tags+xml"/>
  <Override PartName="/ppt/charts/chart113.xml" ContentType="application/vnd.openxmlformats-officedocument.drawingml.chart+xml"/>
  <Override PartName="/ppt/tags/tag141.xml" ContentType="application/vnd.openxmlformats-officedocument.presentationml.tags+xml"/>
  <Override PartName="/ppt/charts/chart114.xml" ContentType="application/vnd.openxmlformats-officedocument.drawingml.chart+xml"/>
  <Override PartName="/ppt/tags/tag142.xml" ContentType="application/vnd.openxmlformats-officedocument.presentationml.tags+xml"/>
  <Override PartName="/ppt/charts/chart115.xml" ContentType="application/vnd.openxmlformats-officedocument.drawingml.chart+xml"/>
  <Override PartName="/ppt/tags/tag143.xml" ContentType="application/vnd.openxmlformats-officedocument.presentationml.tags+xml"/>
  <Override PartName="/ppt/charts/chart116.xml" ContentType="application/vnd.openxmlformats-officedocument.drawingml.chart+xml"/>
  <Override PartName="/ppt/tags/tag144.xml" ContentType="application/vnd.openxmlformats-officedocument.presentationml.tags+xml"/>
  <Override PartName="/ppt/charts/chart117.xml" ContentType="application/vnd.openxmlformats-officedocument.drawingml.chart+xml"/>
  <Override PartName="/ppt/tags/tag145.xml" ContentType="application/vnd.openxmlformats-officedocument.presentationml.tags+xml"/>
  <Override PartName="/ppt/notesSlides/notesSlide1.xml" ContentType="application/vnd.openxmlformats-officedocument.presentationml.notesSlide+xml"/>
  <Override PartName="/ppt/tags/tag146.xml" ContentType="application/vnd.openxmlformats-officedocument.presentationml.tags+xml"/>
  <Override PartName="/ppt/notesSlides/notesSlide2.xml" ContentType="application/vnd.openxmlformats-officedocument.presentationml.notesSlide+xml"/>
  <Override PartName="/ppt/tags/tag147.xml" ContentType="application/vnd.openxmlformats-officedocument.presentationml.tags+xml"/>
  <Override PartName="/ppt/notesSlides/notesSlide3.xml" ContentType="application/vnd.openxmlformats-officedocument.presentationml.notesSlide+xml"/>
  <Override PartName="/ppt/tags/tag148.xml" ContentType="application/vnd.openxmlformats-officedocument.presentationml.tags+xml"/>
  <Override PartName="/ppt/notesSlides/notesSlide4.xml" ContentType="application/vnd.openxmlformats-officedocument.presentationml.notesSlide+xml"/>
  <Override PartName="/ppt/tags/tag149.xml" ContentType="application/vnd.openxmlformats-officedocument.presentationml.tags+xml"/>
  <Override PartName="/ppt/notesSlides/notesSlide5.xml" ContentType="application/vnd.openxmlformats-officedocument.presentationml.notesSlide+xml"/>
  <Override PartName="/ppt/tags/tag150.xml" ContentType="application/vnd.openxmlformats-officedocument.presentationml.tags+xml"/>
  <Override PartName="/ppt/notesSlides/notesSlide6.xml" ContentType="application/vnd.openxmlformats-officedocument.presentationml.notesSlide+xml"/>
  <Override PartName="/ppt/tags/tag151.xml" ContentType="application/vnd.openxmlformats-officedocument.presentationml.tags+xml"/>
  <Override PartName="/ppt/notesSlides/notesSlide7.xml" ContentType="application/vnd.openxmlformats-officedocument.presentationml.notesSlide+xml"/>
  <Override PartName="/ppt/tags/tag152.xml" ContentType="application/vnd.openxmlformats-officedocument.presentationml.tags+xml"/>
  <Override PartName="/ppt/notesSlides/notesSlide8.xml" ContentType="application/vnd.openxmlformats-officedocument.presentationml.notesSlide+xml"/>
  <Override PartName="/ppt/tags/tag153.xml" ContentType="application/vnd.openxmlformats-officedocument.presentationml.tags+xml"/>
  <Override PartName="/ppt/notesSlides/notesSlide9.xml" ContentType="application/vnd.openxmlformats-officedocument.presentationml.notesSlide+xml"/>
  <Override PartName="/ppt/tags/tag154.xml" ContentType="application/vnd.openxmlformats-officedocument.presentationml.tags+xml"/>
  <Override PartName="/ppt/notesSlides/notesSlide10.xml" ContentType="application/vnd.openxmlformats-officedocument.presentationml.notesSlide+xml"/>
  <Override PartName="/ppt/tags/tag155.xml" ContentType="application/vnd.openxmlformats-officedocument.presentationml.tags+xml"/>
  <Override PartName="/ppt/notesSlides/notesSlide11.xml" ContentType="application/vnd.openxmlformats-officedocument.presentationml.notesSlide+xml"/>
  <Override PartName="/ppt/tags/tag156.xml" ContentType="application/vnd.openxmlformats-officedocument.presentationml.tags+xml"/>
  <Override PartName="/ppt/notesSlides/notesSlide12.xml" ContentType="application/vnd.openxmlformats-officedocument.presentationml.notesSlide+xml"/>
  <Override PartName="/ppt/tags/tag157.xml" ContentType="application/vnd.openxmlformats-officedocument.presentationml.tags+xml"/>
  <Override PartName="/ppt/notesSlides/notesSlide13.xml" ContentType="application/vnd.openxmlformats-officedocument.presentationml.notesSlide+xml"/>
  <Override PartName="/ppt/tags/tag158.xml" ContentType="application/vnd.openxmlformats-officedocument.presentationml.tags+xml"/>
  <Override PartName="/ppt/notesSlides/notesSlide14.xml" ContentType="application/vnd.openxmlformats-officedocument.presentationml.notesSlide+xml"/>
  <Override PartName="/ppt/tags/tag159.xml" ContentType="application/vnd.openxmlformats-officedocument.presentationml.tags+xml"/>
  <Override PartName="/ppt/notesSlides/notesSlide15.xml" ContentType="application/vnd.openxmlformats-officedocument.presentationml.notesSlide+xml"/>
  <Override PartName="/ppt/tags/tag160.xml" ContentType="application/vnd.openxmlformats-officedocument.presentationml.tags+xml"/>
  <Override PartName="/ppt/notesSlides/notesSlide16.xml" ContentType="application/vnd.openxmlformats-officedocument.presentationml.notesSlide+xml"/>
  <Override PartName="/ppt/tags/tag161.xml" ContentType="application/vnd.openxmlformats-officedocument.presentationml.tags+xml"/>
  <Override PartName="/ppt/notesSlides/notesSlide17.xml" ContentType="application/vnd.openxmlformats-officedocument.presentationml.notesSlide+xml"/>
  <Override PartName="/ppt/tags/tag162.xml" ContentType="application/vnd.openxmlformats-officedocument.presentationml.tags+xml"/>
  <Override PartName="/ppt/notesSlides/notesSlide18.xml" ContentType="application/vnd.openxmlformats-officedocument.presentationml.notesSlide+xml"/>
  <Override PartName="/ppt/tags/tag163.xml" ContentType="application/vnd.openxmlformats-officedocument.presentationml.tags+xml"/>
  <Override PartName="/ppt/notesSlides/notesSlide19.xml" ContentType="application/vnd.openxmlformats-officedocument.presentationml.notesSlide+xml"/>
  <Override PartName="/ppt/tags/tag164.xml" ContentType="application/vnd.openxmlformats-officedocument.presentationml.tags+xml"/>
  <Override PartName="/ppt/notesSlides/notesSlide20.xml" ContentType="application/vnd.openxmlformats-officedocument.presentationml.notesSlide+xml"/>
  <Override PartName="/ppt/tags/tag165.xml" ContentType="application/vnd.openxmlformats-officedocument.presentationml.tags+xml"/>
  <Override PartName="/ppt/notesSlides/notesSlide21.xml" ContentType="application/vnd.openxmlformats-officedocument.presentationml.notesSlide+xml"/>
  <Override PartName="/ppt/tags/tag166.xml" ContentType="application/vnd.openxmlformats-officedocument.presentationml.tags+xml"/>
  <Override PartName="/ppt/notesSlides/notesSlide22.xml" ContentType="application/vnd.openxmlformats-officedocument.presentationml.notesSlide+xml"/>
  <Override PartName="/ppt/tags/tag167.xml" ContentType="application/vnd.openxmlformats-officedocument.presentationml.tags+xml"/>
  <Override PartName="/ppt/notesSlides/notesSlide23.xml" ContentType="application/vnd.openxmlformats-officedocument.presentationml.notesSlide+xml"/>
  <Override PartName="/ppt/tags/tag168.xml" ContentType="application/vnd.openxmlformats-officedocument.presentationml.tags+xml"/>
  <Override PartName="/ppt/notesSlides/notesSlide24.xml" ContentType="application/vnd.openxmlformats-officedocument.presentationml.notesSlide+xml"/>
  <Override PartName="/ppt/tags/tag169.xml" ContentType="application/vnd.openxmlformats-officedocument.presentationml.tags+xml"/>
  <Override PartName="/ppt/charts/chart118.xml" ContentType="application/vnd.openxmlformats-officedocument.drawingml.chart+xml"/>
  <Override PartName="/ppt/tags/tag170.xml" ContentType="application/vnd.openxmlformats-officedocument.presentationml.tags+xml"/>
  <Override PartName="/ppt/charts/chart119.xml" ContentType="application/vnd.openxmlformats-officedocument.drawingml.chart+xml"/>
  <Override PartName="/ppt/tags/tag171.xml" ContentType="application/vnd.openxmlformats-officedocument.presentationml.tags+xml"/>
  <Override PartName="/ppt/charts/chart120.xml" ContentType="application/vnd.openxmlformats-officedocument.drawingml.chart+xml"/>
  <Override PartName="/ppt/tags/tag172.xml" ContentType="application/vnd.openxmlformats-officedocument.presentationml.tags+xml"/>
  <Override PartName="/ppt/charts/chart121.xml" ContentType="application/vnd.openxmlformats-officedocument.drawingml.chart+xml"/>
  <Override PartName="/ppt/tags/tag173.xml" ContentType="application/vnd.openxmlformats-officedocument.presentationml.tags+xml"/>
  <Override PartName="/ppt/charts/chart122.xml" ContentType="application/vnd.openxmlformats-officedocument.drawingml.chart+xml"/>
  <Override PartName="/ppt/tags/tag174.xml" ContentType="application/vnd.openxmlformats-officedocument.presentationml.tags+xml"/>
  <Override PartName="/ppt/charts/chart123.xml" ContentType="application/vnd.openxmlformats-officedocument.drawingml.chart+xml"/>
  <Override PartName="/ppt/tags/tag175.xml" ContentType="application/vnd.openxmlformats-officedocument.presentationml.tags+xml"/>
  <Override PartName="/ppt/charts/chart124.xml" ContentType="application/vnd.openxmlformats-officedocument.drawingml.chart+xml"/>
  <Override PartName="/ppt/tags/tag176.xml" ContentType="application/vnd.openxmlformats-officedocument.presentationml.tags+xml"/>
  <Override PartName="/ppt/charts/chart125.xml" ContentType="application/vnd.openxmlformats-officedocument.drawingml.chart+xml"/>
  <Override PartName="/ppt/tags/tag177.xml" ContentType="application/vnd.openxmlformats-officedocument.presentationml.tags+xml"/>
  <Override PartName="/ppt/charts/chart126.xml" ContentType="application/vnd.openxmlformats-officedocument.drawingml.chart+xml"/>
  <Override PartName="/ppt/tags/tag178.xml" ContentType="application/vnd.openxmlformats-officedocument.presentationml.tags+xml"/>
  <Override PartName="/ppt/charts/chart127.xml" ContentType="application/vnd.openxmlformats-officedocument.drawingml.chart+xml"/>
  <Override PartName="/ppt/tags/tag179.xml" ContentType="application/vnd.openxmlformats-officedocument.presentationml.tags+xml"/>
  <Override PartName="/ppt/charts/chart128.xml" ContentType="application/vnd.openxmlformats-officedocument.drawingml.chart+xml"/>
  <Override PartName="/ppt/tags/tag180.xml" ContentType="application/vnd.openxmlformats-officedocument.presentationml.tags+xml"/>
  <Override PartName="/ppt/charts/chart129.xml" ContentType="application/vnd.openxmlformats-officedocument.drawingml.chart+xml"/>
  <Override PartName="/ppt/tags/tag181.xml" ContentType="application/vnd.openxmlformats-officedocument.presentationml.tags+xml"/>
  <Override PartName="/ppt/charts/chart130.xml" ContentType="application/vnd.openxmlformats-officedocument.drawingml.chart+xml"/>
  <Override PartName="/ppt/tags/tag182.xml" ContentType="application/vnd.openxmlformats-officedocument.presentationml.tags+xml"/>
  <Override PartName="/ppt/charts/chart131.xml" ContentType="application/vnd.openxmlformats-officedocument.drawingml.chart+xml"/>
  <Override PartName="/ppt/tags/tag183.xml" ContentType="application/vnd.openxmlformats-officedocument.presentationml.tags+xml"/>
  <Override PartName="/ppt/charts/chart132.xml" ContentType="application/vnd.openxmlformats-officedocument.drawingml.chart+xml"/>
  <Override PartName="/ppt/tags/tag184.xml" ContentType="application/vnd.openxmlformats-officedocument.presentationml.tags+xml"/>
  <Override PartName="/ppt/charts/chart133.xml" ContentType="application/vnd.openxmlformats-officedocument.drawingml.chart+xml"/>
  <Override PartName="/ppt/tags/tag185.xml" ContentType="application/vnd.openxmlformats-officedocument.presentationml.tags+xml"/>
  <Override PartName="/ppt/charts/chart134.xml" ContentType="application/vnd.openxmlformats-officedocument.drawingml.chart+xml"/>
  <Override PartName="/ppt/tags/tag186.xml" ContentType="application/vnd.openxmlformats-officedocument.presentationml.tags+xml"/>
  <Override PartName="/ppt/charts/chart135.xml" ContentType="application/vnd.openxmlformats-officedocument.drawingml.chart+xml"/>
  <Override PartName="/ppt/tags/tag187.xml" ContentType="application/vnd.openxmlformats-officedocument.presentationml.tags+xml"/>
  <Override PartName="/ppt/charts/chart136.xml" ContentType="application/vnd.openxmlformats-officedocument.drawingml.chart+xml"/>
  <Override PartName="/ppt/tags/tag188.xml" ContentType="application/vnd.openxmlformats-officedocument.presentationml.tags+xml"/>
  <Override PartName="/ppt/charts/chart137.xml" ContentType="application/vnd.openxmlformats-officedocument.drawingml.chart+xml"/>
  <Override PartName="/ppt/tags/tag189.xml" ContentType="application/vnd.openxmlformats-officedocument.presentationml.tags+xml"/>
  <Override PartName="/ppt/charts/chart138.xml" ContentType="application/vnd.openxmlformats-officedocument.drawingml.chart+xml"/>
  <Override PartName="/ppt/tags/tag190.xml" ContentType="application/vnd.openxmlformats-officedocument.presentationml.tags+xml"/>
  <Override PartName="/ppt/charts/chart139.xml" ContentType="application/vnd.openxmlformats-officedocument.drawingml.chart+xml"/>
  <Override PartName="/ppt/tags/tag191.xml" ContentType="application/vnd.openxmlformats-officedocument.presentationml.tags+xml"/>
  <Override PartName="/ppt/charts/chart140.xml" ContentType="application/vnd.openxmlformats-officedocument.drawingml.chart+xml"/>
  <Override PartName="/ppt/tags/tag192.xml" ContentType="application/vnd.openxmlformats-officedocument.presentationml.tags+xml"/>
  <Override PartName="/ppt/charts/chart141.xml" ContentType="application/vnd.openxmlformats-officedocument.drawingml.chart+xml"/>
  <Override PartName="/ppt/tags/tag193.xml" ContentType="application/vnd.openxmlformats-officedocument.presentationml.tags+xml"/>
  <Override PartName="/ppt/charts/chart142.xml" ContentType="application/vnd.openxmlformats-officedocument.drawingml.chart+xml"/>
  <Override PartName="/ppt/tags/tag194.xml" ContentType="application/vnd.openxmlformats-officedocument.presentationml.tags+xml"/>
  <Override PartName="/ppt/charts/chart143.xml" ContentType="application/vnd.openxmlformats-officedocument.drawingml.chart+xml"/>
  <Override PartName="/ppt/tags/tag195.xml" ContentType="application/vnd.openxmlformats-officedocument.presentationml.tags+xml"/>
  <Override PartName="/ppt/charts/chart144.xml" ContentType="application/vnd.openxmlformats-officedocument.drawingml.chart+xml"/>
  <Override PartName="/ppt/tags/tag196.xml" ContentType="application/vnd.openxmlformats-officedocument.presentationml.tags+xml"/>
  <Override PartName="/ppt/charts/chart145.xml" ContentType="application/vnd.openxmlformats-officedocument.drawingml.chart+xml"/>
  <Override PartName="/ppt/tags/tag197.xml" ContentType="application/vnd.openxmlformats-officedocument.presentationml.tags+xml"/>
  <Override PartName="/ppt/charts/chart146.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175"/>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 id="2147477521" r:id="rId161"/>
    <p:sldId id="2147477522" r:id="rId162"/>
    <p:sldId id="2147477523" r:id="rId163"/>
    <p:sldId id="2147477524" r:id="rId164"/>
    <p:sldId id="2147477525" r:id="rId165"/>
    <p:sldId id="2147477526" r:id="rId166"/>
    <p:sldId id="2147477527" r:id="rId167"/>
    <p:sldId id="2147477528" r:id="rId168"/>
    <p:sldId id="2147477529" r:id="rId169"/>
    <p:sldId id="2147477530" r:id="rId170"/>
    <p:sldId id="2147477531" r:id="rId171"/>
    <p:sldId id="2147477532" r:id="rId172"/>
    <p:sldId id="2147477533" r:id="rId173"/>
    <p:sldId id="2147477534" r:id="rId17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Analysis" id="{D37715A7-9166-4F7C-99D4-C5C0D98C87C6}">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Lst>
        </p14:section>
        <p14:section name="Sectors Share and Growth By Brands" id="{48603CDD-1560-4786-B4A5-2605141A8670}">
          <p14:sldIdLst>
            <p14:sldId id="2147477482"/>
            <p14:sldId id="2147477483"/>
            <p14:sldId id="2147477484"/>
            <p14:sldId id="2147477485"/>
            <p14:sldId id="2147477486"/>
          </p14:sldIdLst>
        </p14:section>
        <p14:section name="Segments Share and Growth By Brands" id="{6143C6C4-1B9F-4C2F-84F3-45EA0631189F}">
          <p14:sldIdLst>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Lst>
        </p14:section>
        <p14:section name="Price Point Distribution Analysis By Brand" id="{3673BAC3-9242-4B0C-AC94-FD0D159A6CA1}">
          <p14:sldIdLst>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51" Type="http://schemas.openxmlformats.org/officeDocument/2006/relationships/slide" Target="slides/slide147.xml"/><Relationship Id="rId156" Type="http://schemas.openxmlformats.org/officeDocument/2006/relationships/slide" Target="slides/slide152.xml"/><Relationship Id="rId177" Type="http://schemas.openxmlformats.org/officeDocument/2006/relationships/viewProps" Target="viewProps.xml"/><Relationship Id="rId172" Type="http://schemas.openxmlformats.org/officeDocument/2006/relationships/slide" Target="slides/slide168.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167" Type="http://schemas.openxmlformats.org/officeDocument/2006/relationships/slide" Target="slides/slide163.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slide" Target="slides/slide15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theme" Target="theme/theme1.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73" Type="http://schemas.openxmlformats.org/officeDocument/2006/relationships/slide" Target="slides/slide169.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79" Type="http://schemas.openxmlformats.org/officeDocument/2006/relationships/tableStyles" Target="tableStyles.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4" Type="http://schemas.openxmlformats.org/officeDocument/2006/relationships/slideMaster" Target="slideMasters/slideMaster1.xml"/><Relationship Id="rId9" Type="http://schemas.openxmlformats.org/officeDocument/2006/relationships/slide" Target="slides/slide5.xml"/><Relationship Id="rId180" Type="http://schemas.microsoft.com/office/2015/10/relationships/revisionInfo" Target="revisionInfo.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notesMaster" Target="notesMasters/notesMaster1.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presProps" Target="presProps.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 Type="http://schemas.openxmlformats.org/officeDocument/2006/relationships/customXml" Target="../customXml/item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A5A895F-0142-4F8F-8F70-4FFCDE05CB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241222D-59E3-400E-87C0-CE663393F9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E7060E5-6F28-4760-B774-ED3A5D1086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B6BB833-5F4F-4C26-BF04-990B6FF85B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E6D197F-AB1F-4DF0-95CD-44C30FBD0D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F78D1FA-0EBB-4F17-ACA5-6664C8729C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FA06779-8A79-46F3-92E5-03E744873B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16FD8C2-7B83-4304-A946-5B151D693A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48.62180000000001</c:v>
                </c:pt>
                <c:pt idx="1">
                  <c:v>613.25300000000004</c:v>
                </c:pt>
                <c:pt idx="2">
                  <c:v>218.2782</c:v>
                </c:pt>
                <c:pt idx="3">
                  <c:v>581.07939999999996</c:v>
                </c:pt>
                <c:pt idx="4">
                  <c:v>212.268</c:v>
                </c:pt>
                <c:pt idx="5">
                  <c:v>649.51160000000004</c:v>
                </c:pt>
                <c:pt idx="6">
                  <c:v>668.8338</c:v>
                </c:pt>
                <c:pt idx="7">
                  <c:v>300.41239999999999</c:v>
                </c:pt>
                <c:pt idx="8">
                  <c:v>684.904</c:v>
                </c:pt>
              </c:numCache>
            </c:numRef>
          </c:xVal>
          <c:yVal>
            <c:numRef>
              <c:f>Sheet1!$B$2:$B$10</c:f>
              <c:numCache>
                <c:formatCode>General</c:formatCode>
                <c:ptCount val="9"/>
                <c:pt idx="0">
                  <c:v>0.73799999999999999</c:v>
                </c:pt>
                <c:pt idx="1">
                  <c:v>2.8860000000000001</c:v>
                </c:pt>
                <c:pt idx="2">
                  <c:v>0.504</c:v>
                </c:pt>
                <c:pt idx="3">
                  <c:v>4.532</c:v>
                </c:pt>
                <c:pt idx="4">
                  <c:v>0.49199999999999999</c:v>
                </c:pt>
                <c:pt idx="5">
                  <c:v>3.8679999999999999</c:v>
                </c:pt>
                <c:pt idx="6">
                  <c:v>3.4849999999999999</c:v>
                </c:pt>
                <c:pt idx="7">
                  <c:v>1.4259999999999999</c:v>
                </c:pt>
                <c:pt idx="8">
                  <c:v>3.335</c:v>
                </c:pt>
              </c:numCache>
            </c:numRef>
          </c:yVal>
          <c:bubbleSize>
            <c:numRef>
              <c:f>Sheet1!$C$2:$C$10</c:f>
              <c:numCache>
                <c:formatCode>General</c:formatCode>
                <c:ptCount val="9"/>
                <c:pt idx="0">
                  <c:v>793024766</c:v>
                </c:pt>
                <c:pt idx="1">
                  <c:v>629447145</c:v>
                </c:pt>
                <c:pt idx="2">
                  <c:v>386902988</c:v>
                </c:pt>
                <c:pt idx="3">
                  <c:v>385073783</c:v>
                </c:pt>
                <c:pt idx="4">
                  <c:v>329391699</c:v>
                </c:pt>
                <c:pt idx="5">
                  <c:v>268650336</c:v>
                </c:pt>
                <c:pt idx="6">
                  <c:v>254179570</c:v>
                </c:pt>
                <c:pt idx="7">
                  <c:v>163812487</c:v>
                </c:pt>
                <c:pt idx="8">
                  <c:v>117340498</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Hawaiian Tropic</c:v>
                  </c:pt>
                  <c:pt idx="3">
                    <c:v>La Roche-Posay</c:v>
                  </c:pt>
                  <c:pt idx="4">
                    <c:v>Banana Boat</c:v>
                  </c:pt>
                  <c:pt idx="5">
                    <c:v>Eucerin</c:v>
                  </c:pt>
                  <c:pt idx="6">
                    <c:v>Avene</c:v>
                  </c:pt>
                  <c:pt idx="7">
                    <c:v>Neutrogena</c:v>
                  </c:pt>
                  <c:pt idx="8">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2"/>
          <c:min val="1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456600E-35EF-4951-9C9A-3F07E121BA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0DC0211-450E-48CC-A436-A851E05CAA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3F9868B-A037-4D12-A250-03C8043A5F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F612649-CA06-493E-B515-0F6226E428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FB09269-702F-4DA6-988A-2C121D4898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3728FBE-115D-4BE6-BD2F-F387DA4968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82DA4E6-8CBB-4497-BA7C-41B3D61469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FA21B0F-D595-4A27-B5A8-E9FF4710BD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43.31460000000001</c:v>
                </c:pt>
                <c:pt idx="1">
                  <c:v>209.0821</c:v>
                </c:pt>
                <c:pt idx="2">
                  <c:v>228.26419999999999</c:v>
                </c:pt>
                <c:pt idx="3">
                  <c:v>577.1653</c:v>
                </c:pt>
                <c:pt idx="4">
                  <c:v>291.35789999999997</c:v>
                </c:pt>
                <c:pt idx="5">
                  <c:v>84.787800000000004</c:v>
                </c:pt>
                <c:pt idx="6">
                  <c:v>563.72080000000005</c:v>
                </c:pt>
                <c:pt idx="7">
                  <c:v>575.97080000000005</c:v>
                </c:pt>
                <c:pt idx="8">
                  <c:v>192.56129999999999</c:v>
                </c:pt>
              </c:numCache>
            </c:numRef>
          </c:xVal>
          <c:yVal>
            <c:numRef>
              <c:f>Sheet1!$B$2:$B$10</c:f>
              <c:numCache>
                <c:formatCode>General</c:formatCode>
                <c:ptCount val="9"/>
                <c:pt idx="0">
                  <c:v>1.03</c:v>
                </c:pt>
                <c:pt idx="1">
                  <c:v>0.748</c:v>
                </c:pt>
                <c:pt idx="2">
                  <c:v>0.751</c:v>
                </c:pt>
                <c:pt idx="3">
                  <c:v>4.0640000000000001</c:v>
                </c:pt>
                <c:pt idx="4">
                  <c:v>1.9950000000000001</c:v>
                </c:pt>
                <c:pt idx="5">
                  <c:v>0.40899999999999997</c:v>
                </c:pt>
                <c:pt idx="6">
                  <c:v>6.1130000000000004</c:v>
                </c:pt>
                <c:pt idx="7">
                  <c:v>4.8920000000000003</c:v>
                </c:pt>
                <c:pt idx="8">
                  <c:v>3.02</c:v>
                </c:pt>
              </c:numCache>
            </c:numRef>
          </c:yVal>
          <c:bubbleSize>
            <c:numRef>
              <c:f>Sheet1!$C$2:$C$10</c:f>
              <c:numCache>
                <c:formatCode>General</c:formatCode>
                <c:ptCount val="9"/>
                <c:pt idx="0">
                  <c:v>523432960</c:v>
                </c:pt>
                <c:pt idx="1">
                  <c:v>246489415</c:v>
                </c:pt>
                <c:pt idx="2">
                  <c:v>205279552</c:v>
                </c:pt>
                <c:pt idx="3">
                  <c:v>108131910</c:v>
                </c:pt>
                <c:pt idx="4">
                  <c:v>101346207</c:v>
                </c:pt>
                <c:pt idx="5">
                  <c:v>61992752</c:v>
                </c:pt>
                <c:pt idx="6">
                  <c:v>44526055</c:v>
                </c:pt>
                <c:pt idx="7">
                  <c:v>39227065</c:v>
                </c:pt>
                <c:pt idx="8">
                  <c:v>30494965</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La Roche-Posay</c:v>
                  </c:pt>
                  <c:pt idx="7">
                    <c:v>Eucerin</c:v>
                  </c:pt>
                  <c:pt idx="8">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
          <c:min val="6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30DE550-9F5C-4DBF-8DB3-E6CAC7FB8C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315D11D9-1D9E-4ADE-8019-E42ABE4677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F24FF79-A5DD-4332-BEE1-D6DC17E5A2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8D4BCCE-C568-4D31-A550-37321F798F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6C83892-7BC3-4127-BCB3-E42C5CABB0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3F8EDBC-EC30-4E2D-AD31-05405B0B11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249F7CB-E054-441F-96D5-00EF7D00F5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290F222-9BDB-4745-987C-A0A52B7C16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8.50640000000001</c:v>
                </c:pt>
              </c:numCache>
            </c:numRef>
          </c:xVal>
          <c:yVal>
            <c:numRef>
              <c:f>Sheet1!$B$2:$B$2</c:f>
              <c:numCache>
                <c:formatCode>General</c:formatCode>
                <c:ptCount val="1"/>
                <c:pt idx="0">
                  <c:v>1</c:v>
                </c:pt>
              </c:numCache>
            </c:numRef>
          </c:yVal>
          <c:bubbleSize>
            <c:numRef>
              <c:f>Sheet1!$C$2:$C$2</c:f>
              <c:numCache>
                <c:formatCode>General</c:formatCode>
                <c:ptCount val="1"/>
                <c:pt idx="0">
                  <c:v>9805641</c:v>
                </c:pt>
              </c:numCache>
            </c:numRef>
          </c:bubbleSize>
          <c:bubble3D val="0"/>
          <c:extLst>
            <c:ext xmlns:c15="http://schemas.microsoft.com/office/drawing/2012/chart" uri="{02D57815-91ED-43cb-92C2-25804820EDAC}">
              <c15:datalabelsRange>
                <c15:f>Sheet1!$E$2:$E$10</c15:f>
                <c15:dlblRangeCache>
                  <c:ptCount val="9"/>
                  <c:pt idx="0">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0"/>
          <c:min val="16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83F4364-5DB0-423C-8B2F-0FF34761F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BFE0B63-7527-4F65-8B56-D6B29D2BA4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BEFF6AF-A85E-4953-962E-7E08C292A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2E61A11-4329-4542-A04E-443242592A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2C26496-00AD-4A47-B845-5D4A96D0CC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8498192-4A3E-495D-A2D4-F2EDE794D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3E9E331-3091-402C-B8E8-613B18AEF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1733A92-035D-4CA1-B8FB-1CE42E7F16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72.78359999999998</c:v>
                </c:pt>
                <c:pt idx="1">
                  <c:v>351.66789999999997</c:v>
                </c:pt>
                <c:pt idx="2">
                  <c:v>322.3177</c:v>
                </c:pt>
                <c:pt idx="3">
                  <c:v>408.41359999999997</c:v>
                </c:pt>
              </c:numCache>
            </c:numRef>
          </c:xVal>
          <c:yVal>
            <c:numRef>
              <c:f>Sheet1!$B$2:$B$5</c:f>
              <c:numCache>
                <c:formatCode>General</c:formatCode>
                <c:ptCount val="4"/>
                <c:pt idx="0">
                  <c:v>0.56299999999999994</c:v>
                </c:pt>
                <c:pt idx="1">
                  <c:v>2.0299999999999998</c:v>
                </c:pt>
                <c:pt idx="2">
                  <c:v>2.2400000000000002</c:v>
                </c:pt>
                <c:pt idx="3">
                  <c:v>2.6789999999999998</c:v>
                </c:pt>
              </c:numCache>
            </c:numRef>
          </c:yVal>
          <c:bubbleSize>
            <c:numRef>
              <c:f>Sheet1!$C$2:$C$5</c:f>
              <c:numCache>
                <c:formatCode>General</c:formatCode>
                <c:ptCount val="4"/>
                <c:pt idx="0">
                  <c:v>2219640</c:v>
                </c:pt>
                <c:pt idx="1">
                  <c:v>2139196</c:v>
                </c:pt>
                <c:pt idx="2">
                  <c:v>871547</c:v>
                </c:pt>
                <c:pt idx="3">
                  <c:v>191546</c:v>
                </c:pt>
              </c:numCache>
            </c:numRef>
          </c:bubbleSize>
          <c:bubble3D val="0"/>
          <c:extLst>
            <c:ext xmlns:c15="http://schemas.microsoft.com/office/drawing/2012/chart" uri="{02D57815-91ED-43cb-92C2-25804820EDAC}">
              <c15:datalabelsRange>
                <c15:f>Sheet1!$E$2:$E$10</c15:f>
                <c15:dlblRangeCache>
                  <c:ptCount val="9"/>
                  <c:pt idx="0">
                    <c:v>Banana Boat</c:v>
                  </c:pt>
                  <c:pt idx="1">
                    <c:v>Australian Gold</c:v>
                  </c:pt>
                  <c:pt idx="2">
                    <c:v>Ocean Potion</c:v>
                  </c:pt>
                  <c:pt idx="3">
                    <c:v>Muste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0"/>
          <c:min val="2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513E6BC-2C4F-43B8-AE36-741EE8DDB7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FA9D9A29-3D5D-41F3-BD27-510F31C93E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B02A220-F7B1-46DE-B95E-980C675649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9B7A3E5-BD71-4CBB-95A5-AF2FBCC432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DC08DDA-4DDF-433B-83C7-ACD5CE2F63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9DE896A-557E-4A19-AA0C-7B2A36969F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F62DB92-CE13-495D-9E92-A2320D8CD3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0B5E12C-69F2-4810-9A45-69B0C83FB2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51.09890000000001</c:v>
                </c:pt>
              </c:numCache>
            </c:numRef>
          </c:xVal>
          <c:yVal>
            <c:numRef>
              <c:f>Sheet1!$B$2:$B$2</c:f>
              <c:numCache>
                <c:formatCode>General</c:formatCode>
                <c:ptCount val="1"/>
                <c:pt idx="0">
                  <c:v>0.47</c:v>
                </c:pt>
              </c:numCache>
            </c:numRef>
          </c:yVal>
          <c:bubbleSize>
            <c:numRef>
              <c:f>Sheet1!$C$2:$C$2</c:f>
              <c:numCache>
                <c:formatCode>General</c:formatCode>
                <c:ptCount val="1"/>
                <c:pt idx="0">
                  <c:v>2155747</c:v>
                </c:pt>
              </c:numCache>
            </c:numRef>
          </c:bubbleSize>
          <c:bubble3D val="0"/>
          <c:extLst>
            <c:ext xmlns:c15="http://schemas.microsoft.com/office/drawing/2012/chart" uri="{02D57815-91ED-43cb-92C2-25804820EDAC}">
              <c15:datalabelsRange>
                <c15:f>Sheet1!$E$2:$E$10</c15:f>
                <c15:dlblRangeCache>
                  <c:ptCount val="9"/>
                  <c:pt idx="0">
                    <c:v>Neutrogen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1"/>
          <c:min val="28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762045A-7886-433F-891A-BFB2A99CAF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569BBFC-B195-4E87-A349-1FA6049048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D7EB87E-F9D1-4075-A083-046A09A819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FF1E8F2-4705-4D9A-A314-CC93124ABD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D4B80EA-3420-4153-B019-538A047A92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C87111B-048F-4B24-83A2-DAAC350673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FA2A86F-DD1F-4887-8351-53BFD8BC35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2967E0E-3C31-4013-BCA1-1648DF6D06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597.39189999999996</c:v>
                </c:pt>
                <c:pt idx="1">
                  <c:v>490.33460000000002</c:v>
                </c:pt>
                <c:pt idx="2">
                  <c:v>644.59540000000004</c:v>
                </c:pt>
              </c:numCache>
            </c:numRef>
          </c:xVal>
          <c:yVal>
            <c:numRef>
              <c:f>Sheet1!$B$2:$B$4</c:f>
              <c:numCache>
                <c:formatCode>General</c:formatCode>
                <c:ptCount val="3"/>
                <c:pt idx="0">
                  <c:v>0.99399999999999999</c:v>
                </c:pt>
                <c:pt idx="1">
                  <c:v>1.855</c:v>
                </c:pt>
                <c:pt idx="2">
                  <c:v>2.4529999999999998</c:v>
                </c:pt>
              </c:numCache>
            </c:numRef>
          </c:yVal>
          <c:bubbleSize>
            <c:numRef>
              <c:f>Sheet1!$C$2:$C$4</c:f>
              <c:numCache>
                <c:formatCode>General</c:formatCode>
                <c:ptCount val="3"/>
                <c:pt idx="0">
                  <c:v>7450074</c:v>
                </c:pt>
                <c:pt idx="1">
                  <c:v>5051427</c:v>
                </c:pt>
                <c:pt idx="2">
                  <c:v>1432291</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Vich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74"/>
          <c:min val="39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4F5F5E-71B8-4A22-BB14-D7BD5510BA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E2335D3-1C71-4763-9D5E-DECBB11BD0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82A2BB8-A756-4588-B852-E2EDFEF3E9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314A69C-8131-45A6-8000-66CACC661F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EA5FD71-00EC-42CC-ADEE-6723E3770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69B8E03-26EE-42B3-8F93-E34880C652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76AD807-1802-4CE9-BF3D-7169E6DF4F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EA6AD84-4286-4655-98FB-5C41D1F68E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90.39980000000003</c:v>
                </c:pt>
                <c:pt idx="1">
                  <c:v>583.70219999999995</c:v>
                </c:pt>
                <c:pt idx="2">
                  <c:v>543.72979999999995</c:v>
                </c:pt>
                <c:pt idx="3">
                  <c:v>606.59429999999998</c:v>
                </c:pt>
                <c:pt idx="4">
                  <c:v>624.12639999999999</c:v>
                </c:pt>
                <c:pt idx="5">
                  <c:v>332.27109999999999</c:v>
                </c:pt>
                <c:pt idx="6">
                  <c:v>653.98230000000001</c:v>
                </c:pt>
                <c:pt idx="7">
                  <c:v>298.34109999999998</c:v>
                </c:pt>
                <c:pt idx="8">
                  <c:v>359.79739999999998</c:v>
                </c:pt>
              </c:numCache>
            </c:numRef>
          </c:xVal>
          <c:yVal>
            <c:numRef>
              <c:f>Sheet1!$B$2:$B$10</c:f>
              <c:numCache>
                <c:formatCode>General</c:formatCode>
                <c:ptCount val="9"/>
                <c:pt idx="0">
                  <c:v>0.76</c:v>
                </c:pt>
                <c:pt idx="1">
                  <c:v>2.9910000000000001</c:v>
                </c:pt>
                <c:pt idx="2">
                  <c:v>1.4279999999999999</c:v>
                </c:pt>
                <c:pt idx="3">
                  <c:v>1.9219999999999999</c:v>
                </c:pt>
                <c:pt idx="4">
                  <c:v>2.8980000000000001</c:v>
                </c:pt>
                <c:pt idx="5">
                  <c:v>0.91800000000000004</c:v>
                </c:pt>
                <c:pt idx="6">
                  <c:v>1.2909999999999999</c:v>
                </c:pt>
                <c:pt idx="7">
                  <c:v>0.47599999999999998</c:v>
                </c:pt>
                <c:pt idx="8">
                  <c:v>1.94</c:v>
                </c:pt>
              </c:numCache>
            </c:numRef>
          </c:yVal>
          <c:bubbleSize>
            <c:numRef>
              <c:f>Sheet1!$C$2:$C$10</c:f>
              <c:numCache>
                <c:formatCode>General</c:formatCode>
                <c:ptCount val="9"/>
                <c:pt idx="0">
                  <c:v>99185766</c:v>
                </c:pt>
                <c:pt idx="1">
                  <c:v>57072654</c:v>
                </c:pt>
                <c:pt idx="2">
                  <c:v>18521067</c:v>
                </c:pt>
                <c:pt idx="3">
                  <c:v>16668605</c:v>
                </c:pt>
                <c:pt idx="4">
                  <c:v>12805826</c:v>
                </c:pt>
                <c:pt idx="5">
                  <c:v>10724715</c:v>
                </c:pt>
                <c:pt idx="6">
                  <c:v>8827453</c:v>
                </c:pt>
                <c:pt idx="7">
                  <c:v>6393152</c:v>
                </c:pt>
                <c:pt idx="8">
                  <c:v>5927302</c:v>
                </c:pt>
              </c:numCache>
            </c:numRef>
          </c:bubbleSize>
          <c:bubble3D val="0"/>
          <c:extLst>
            <c:ext xmlns:c15="http://schemas.microsoft.com/office/drawing/2012/chart" uri="{02D57815-91ED-43cb-92C2-25804820EDAC}">
              <c15:datalabelsRange>
                <c15:f>Sheet1!$E$2:$E$10</c15:f>
                <c15:dlblRangeCache>
                  <c:ptCount val="9"/>
                  <c:pt idx="0">
                    <c:v>Neutrogena</c:v>
                  </c:pt>
                  <c:pt idx="1">
                    <c:v>Isdin</c:v>
                  </c:pt>
                  <c:pt idx="2">
                    <c:v>Avene</c:v>
                  </c:pt>
                  <c:pt idx="3">
                    <c:v>Eucerin</c:v>
                  </c:pt>
                  <c:pt idx="4">
                    <c:v>La Roche-Posay</c:v>
                  </c:pt>
                  <c:pt idx="5">
                    <c:v>Eclipsol</c:v>
                  </c:pt>
                  <c:pt idx="6">
                    <c:v>Vichy</c:v>
                  </c:pt>
                  <c:pt idx="7">
                    <c:v>Cicatricure</c:v>
                  </c:pt>
                  <c:pt idx="8">
                    <c:v>Cetaph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5"/>
          <c:min val="23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9A32499-B35F-4E9F-B8E6-C0701896D9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7F998F6-0909-46EC-8B4F-561D18ED1F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294CBAE-9956-43E5-87F2-7FDCDE8A26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40A4118-7EE3-4EC8-9BE6-4DA2C930E0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4379B9E-A0AA-4695-B136-070C9EC401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E5314F8-B67C-42AD-98D1-F567A75323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EFDA64E-25AE-482F-B11D-6103B83E3E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8A6229A-E1AC-4F58-9257-EF2A1864AE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551.95619999999997</c:v>
                </c:pt>
                <c:pt idx="1">
                  <c:v>580.10599999999999</c:v>
                </c:pt>
                <c:pt idx="2">
                  <c:v>533.79150000000004</c:v>
                </c:pt>
                <c:pt idx="3">
                  <c:v>524.24919999999997</c:v>
                </c:pt>
                <c:pt idx="4">
                  <c:v>369.12920000000003</c:v>
                </c:pt>
              </c:numCache>
            </c:numRef>
          </c:xVal>
          <c:yVal>
            <c:numRef>
              <c:f>Sheet1!$B$2:$B$6</c:f>
              <c:numCache>
                <c:formatCode>General</c:formatCode>
                <c:ptCount val="5"/>
                <c:pt idx="0">
                  <c:v>0.89700000000000002</c:v>
                </c:pt>
                <c:pt idx="1">
                  <c:v>1.0389999999999999</c:v>
                </c:pt>
                <c:pt idx="2">
                  <c:v>1.478</c:v>
                </c:pt>
                <c:pt idx="3">
                  <c:v>0.82799999999999996</c:v>
                </c:pt>
                <c:pt idx="4">
                  <c:v>1.109</c:v>
                </c:pt>
              </c:numCache>
            </c:numRef>
          </c:yVal>
          <c:bubbleSize>
            <c:numRef>
              <c:f>Sheet1!$C$2:$C$6</c:f>
              <c:numCache>
                <c:formatCode>General</c:formatCode>
                <c:ptCount val="5"/>
                <c:pt idx="0">
                  <c:v>17135479</c:v>
                </c:pt>
                <c:pt idx="1">
                  <c:v>14920906</c:v>
                </c:pt>
                <c:pt idx="2">
                  <c:v>4767826</c:v>
                </c:pt>
                <c:pt idx="3">
                  <c:v>4638557</c:v>
                </c:pt>
                <c:pt idx="4">
                  <c:v>2334373</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Avene</c:v>
                  </c:pt>
                  <c:pt idx="3">
                    <c:v>Eucerin</c:v>
                  </c:pt>
                  <c:pt idx="4">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6"/>
          <c:min val="29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2BBEE05-91B9-420C-AEBF-3671ACFE27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54D4B9D-63F6-47AE-8661-FDB5132798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838981B-0A3C-4774-9D25-BF775D5424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5445D58-42C8-4631-9645-DB00428458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675F50D-B8D7-46F9-AE8B-FF638B87A6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279C044-9788-4201-95AD-0D4CB494E2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5D097EB-80D9-498A-AD29-D0BFE41DE0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5FDCF04-C55C-41D3-99BF-2C8614276E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591.13890000000004</c:v>
                </c:pt>
                <c:pt idx="1">
                  <c:v>552.87980000000005</c:v>
                </c:pt>
                <c:pt idx="2">
                  <c:v>539.27739999999994</c:v>
                </c:pt>
                <c:pt idx="3">
                  <c:v>567.20190000000002</c:v>
                </c:pt>
                <c:pt idx="4">
                  <c:v>467.96749999999997</c:v>
                </c:pt>
              </c:numCache>
            </c:numRef>
          </c:xVal>
          <c:yVal>
            <c:numRef>
              <c:f>Sheet1!$B$2:$B$6</c:f>
              <c:numCache>
                <c:formatCode>General</c:formatCode>
                <c:ptCount val="5"/>
                <c:pt idx="0">
                  <c:v>0.57299999999999995</c:v>
                </c:pt>
                <c:pt idx="1">
                  <c:v>2.64</c:v>
                </c:pt>
                <c:pt idx="2">
                  <c:v>2.7069999999999999</c:v>
                </c:pt>
                <c:pt idx="3">
                  <c:v>16.600999999999999</c:v>
                </c:pt>
                <c:pt idx="4">
                  <c:v>1.286</c:v>
                </c:pt>
              </c:numCache>
            </c:numRef>
          </c:yVal>
          <c:bubbleSize>
            <c:numRef>
              <c:f>Sheet1!$C$2:$C$6</c:f>
              <c:numCache>
                <c:formatCode>General</c:formatCode>
                <c:ptCount val="5"/>
                <c:pt idx="0">
                  <c:v>17641359</c:v>
                </c:pt>
                <c:pt idx="1">
                  <c:v>11875859</c:v>
                </c:pt>
                <c:pt idx="2">
                  <c:v>5504944</c:v>
                </c:pt>
                <c:pt idx="3">
                  <c:v>1573418</c:v>
                </c:pt>
                <c:pt idx="4">
                  <c:v>1323880</c:v>
                </c:pt>
              </c:numCache>
            </c:numRef>
          </c:bubbleSize>
          <c:bubble3D val="0"/>
          <c:extLst>
            <c:ext xmlns:c15="http://schemas.microsoft.com/office/drawing/2012/chart" uri="{02D57815-91ED-43cb-92C2-25804820EDAC}">
              <c15:datalabelsRange>
                <c15:f>Sheet1!$E$2:$E$10</c15:f>
                <c15:dlblRangeCache>
                  <c:ptCount val="9"/>
                  <c:pt idx="0">
                    <c:v>Isdin</c:v>
                  </c:pt>
                  <c:pt idx="1">
                    <c:v>Eucerin</c:v>
                  </c:pt>
                  <c:pt idx="2">
                    <c:v>La Roche-Posay</c:v>
                  </c:pt>
                  <c:pt idx="3">
                    <c:v>Photoderm</c:v>
                  </c:pt>
                  <c:pt idx="4">
                    <c:v>Cetaph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
          <c:min val="37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A921B5-AC42-48EC-A64F-74A3F30BAE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6D960FA-3588-4986-A43C-112367F93C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3034BAA-58CF-4561-9CFB-8CDCF699B0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690BA31-01DD-4614-B9EF-5D16445FDF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5C105EC-3C87-4011-8EFD-A62B212C98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E441D3D-C9DA-4FFA-8861-75F0CAC41F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196A1FC-22AC-4A1D-AB9D-B5CAEBFA6D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6C762A2-AA9E-49EC-B427-D304AB0183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602.04489999999998</c:v>
                </c:pt>
                <c:pt idx="1">
                  <c:v>627.20219999999995</c:v>
                </c:pt>
              </c:numCache>
            </c:numRef>
          </c:xVal>
          <c:yVal>
            <c:numRef>
              <c:f>Sheet1!$B$2:$B$3</c:f>
              <c:numCache>
                <c:formatCode>General</c:formatCode>
                <c:ptCount val="2"/>
                <c:pt idx="0">
                  <c:v>0.90200000000000002</c:v>
                </c:pt>
                <c:pt idx="1">
                  <c:v>0</c:v>
                </c:pt>
              </c:numCache>
            </c:numRef>
          </c:yVal>
          <c:bubbleSize>
            <c:numRef>
              <c:f>Sheet1!$C$2:$C$3</c:f>
              <c:numCache>
                <c:formatCode>General</c:formatCode>
                <c:ptCount val="2"/>
                <c:pt idx="0">
                  <c:v>2562303</c:v>
                </c:pt>
                <c:pt idx="1">
                  <c:v>279105</c:v>
                </c:pt>
              </c:numCache>
            </c:numRef>
          </c:bubbleSize>
          <c:bubble3D val="0"/>
          <c:extLst>
            <c:ext xmlns:c15="http://schemas.microsoft.com/office/drawing/2012/chart" uri="{02D57815-91ED-43cb-92C2-25804820EDAC}">
              <c15:datalabelsRange>
                <c15:f>Sheet1!$E$2:$E$10</c15:f>
                <c15:dlblRangeCache>
                  <c:ptCount val="9"/>
                  <c:pt idx="0">
                    <c:v>Eucerin</c:v>
                  </c:pt>
                  <c:pt idx="1">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53"/>
          <c:min val="48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ADAF374-D164-4AA6-A157-E43AB51D59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1D230D8-598C-4632-90EB-B744F1273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639AE1-75D6-433E-8BE7-030BEA1A8E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F00D241-C7F4-4F51-A9C0-6F3E673C77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15CDD30-21CD-4FC5-8F58-62851CB5C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0DEB39F-1040-4B1C-AD70-6EE30B5E37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DED1F0A-BCD3-43E9-8A66-18F5BD7DA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1FF7AD0-CD14-4686-AE4D-3ABD0FE110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7.20529999999999</c:v>
                </c:pt>
                <c:pt idx="1">
                  <c:v>601.52750000000003</c:v>
                </c:pt>
                <c:pt idx="2">
                  <c:v>576.16099999999994</c:v>
                </c:pt>
                <c:pt idx="3">
                  <c:v>601.99080000000004</c:v>
                </c:pt>
                <c:pt idx="4">
                  <c:v>481.26670000000001</c:v>
                </c:pt>
                <c:pt idx="5">
                  <c:v>328.99709999999999</c:v>
                </c:pt>
                <c:pt idx="6">
                  <c:v>674.8818</c:v>
                </c:pt>
                <c:pt idx="7">
                  <c:v>449.5847</c:v>
                </c:pt>
              </c:numCache>
            </c:numRef>
          </c:xVal>
          <c:yVal>
            <c:numRef>
              <c:f>Sheet1!$B$2:$B$9</c:f>
              <c:numCache>
                <c:formatCode>General</c:formatCode>
                <c:ptCount val="8"/>
                <c:pt idx="0">
                  <c:v>1.1259999999999999</c:v>
                </c:pt>
                <c:pt idx="1">
                  <c:v>1.355</c:v>
                </c:pt>
                <c:pt idx="2">
                  <c:v>0.65200000000000002</c:v>
                </c:pt>
                <c:pt idx="3">
                  <c:v>1.381</c:v>
                </c:pt>
                <c:pt idx="4">
                  <c:v>0.82399999999999995</c:v>
                </c:pt>
                <c:pt idx="5">
                  <c:v>0.50800000000000001</c:v>
                </c:pt>
                <c:pt idx="6">
                  <c:v>0.69499999999999995</c:v>
                </c:pt>
                <c:pt idx="7">
                  <c:v>0.38100000000000001</c:v>
                </c:pt>
              </c:numCache>
            </c:numRef>
          </c:yVal>
          <c:bubbleSize>
            <c:numRef>
              <c:f>Sheet1!$C$2:$C$9</c:f>
              <c:numCache>
                <c:formatCode>General</c:formatCode>
                <c:ptCount val="8"/>
                <c:pt idx="0">
                  <c:v>19748491</c:v>
                </c:pt>
                <c:pt idx="1">
                  <c:v>4652815</c:v>
                </c:pt>
                <c:pt idx="2">
                  <c:v>3481741</c:v>
                </c:pt>
                <c:pt idx="3">
                  <c:v>2151515</c:v>
                </c:pt>
                <c:pt idx="4">
                  <c:v>1959718</c:v>
                </c:pt>
                <c:pt idx="5">
                  <c:v>1031406</c:v>
                </c:pt>
                <c:pt idx="6">
                  <c:v>496713</c:v>
                </c:pt>
                <c:pt idx="7">
                  <c:v>469816</c:v>
                </c:pt>
              </c:numCache>
            </c:numRef>
          </c:bubbleSize>
          <c:bubble3D val="0"/>
          <c:extLst>
            <c:ext xmlns:c15="http://schemas.microsoft.com/office/drawing/2012/chart" uri="{02D57815-91ED-43cb-92C2-25804820EDAC}">
              <c15:datalabelsRange>
                <c15:f>Sheet1!$E$2:$E$10</c15:f>
                <c15:dlblRangeCache>
                  <c:ptCount val="9"/>
                  <c:pt idx="0">
                    <c:v>Loreal Paris</c:v>
                  </c:pt>
                  <c:pt idx="1">
                    <c:v>Isdin</c:v>
                  </c:pt>
                  <c:pt idx="2">
                    <c:v>Eucerin</c:v>
                  </c:pt>
                  <c:pt idx="3">
                    <c:v>La Roche-Posay</c:v>
                  </c:pt>
                  <c:pt idx="4">
                    <c:v>Cetaphil</c:v>
                  </c:pt>
                  <c:pt idx="5">
                    <c:v>Eclipsol</c:v>
                  </c:pt>
                  <c:pt idx="6">
                    <c:v>Vichy</c:v>
                  </c:pt>
                  <c:pt idx="7">
                    <c:v>Av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0"/>
          <c:min val="19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975D2B-12E3-478E-8480-D22928EB95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2E505C0-04B0-4805-9814-5F2935C305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DA71394-4A82-46F8-9357-7B29D9F66A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ECD0D30-975C-45B9-845A-0FD3721905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A8C99FF-1F1F-4D27-A694-9EB9DF1B2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A063A11-8A95-47B0-AB93-2C7D0925D1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7B8E74D-A0EF-4FBA-9E2F-A4A536D6E1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D0C9150-4064-40E9-B68F-294B4234C1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597.97450000000003</c:v>
                </c:pt>
                <c:pt idx="1">
                  <c:v>566.36</c:v>
                </c:pt>
                <c:pt idx="2">
                  <c:v>246.7004</c:v>
                </c:pt>
              </c:numCache>
            </c:numRef>
          </c:xVal>
          <c:yVal>
            <c:numRef>
              <c:f>Sheet1!$B$2:$B$4</c:f>
              <c:numCache>
                <c:formatCode>General</c:formatCode>
                <c:ptCount val="3"/>
                <c:pt idx="0">
                  <c:v>0.72099999999999997</c:v>
                </c:pt>
                <c:pt idx="1">
                  <c:v>1.2230000000000001</c:v>
                </c:pt>
                <c:pt idx="2">
                  <c:v>1.397</c:v>
                </c:pt>
              </c:numCache>
            </c:numRef>
          </c:yVal>
          <c:bubbleSize>
            <c:numRef>
              <c:f>Sheet1!$C$2:$C$4</c:f>
              <c:numCache>
                <c:formatCode>General</c:formatCode>
                <c:ptCount val="3"/>
                <c:pt idx="0">
                  <c:v>1685690</c:v>
                </c:pt>
                <c:pt idx="1">
                  <c:v>1592038</c:v>
                </c:pt>
                <c:pt idx="2">
                  <c:v>1269767</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Eclipso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8"/>
          <c:min val="19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EA913CC-0295-4563-BC25-2FE32EB317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B3CC0F0-AB24-4217-84D2-35F3AC584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29306F0-5117-4E94-BFDE-1B92D7ABBE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C651D33-0445-4DC6-8017-F4AEEED350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B7A7B26-4820-44B7-9FE7-7DF89C580E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E1BFE22-27C5-4543-B690-389C18864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DC533F7-C71E-46F8-9328-F0EE31DAD3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280D8A3-0DED-4BBC-9443-9870C757D3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58.39229999999998</c:v>
                </c:pt>
                <c:pt idx="1">
                  <c:v>245.6242</c:v>
                </c:pt>
                <c:pt idx="2">
                  <c:v>83.281400000000005</c:v>
                </c:pt>
                <c:pt idx="3">
                  <c:v>237.94919999999999</c:v>
                </c:pt>
                <c:pt idx="4">
                  <c:v>76.384600000000006</c:v>
                </c:pt>
                <c:pt idx="5">
                  <c:v>187.7775</c:v>
                </c:pt>
              </c:numCache>
            </c:numRef>
          </c:xVal>
          <c:yVal>
            <c:numRef>
              <c:f>Sheet1!$B$2:$B$7</c:f>
              <c:numCache>
                <c:formatCode>General</c:formatCode>
                <c:ptCount val="6"/>
                <c:pt idx="0">
                  <c:v>1.879</c:v>
                </c:pt>
                <c:pt idx="1">
                  <c:v>0.85599999999999998</c:v>
                </c:pt>
                <c:pt idx="2">
                  <c:v>0.48799999999999999</c:v>
                </c:pt>
                <c:pt idx="3">
                  <c:v>0.79300000000000004</c:v>
                </c:pt>
                <c:pt idx="4">
                  <c:v>0.47099999999999997</c:v>
                </c:pt>
                <c:pt idx="5">
                  <c:v>3.4830000000000001</c:v>
                </c:pt>
              </c:numCache>
            </c:numRef>
          </c:yVal>
          <c:bubbleSize>
            <c:numRef>
              <c:f>Sheet1!$C$2:$C$7</c:f>
              <c:numCache>
                <c:formatCode>General</c:formatCode>
                <c:ptCount val="6"/>
                <c:pt idx="0">
                  <c:v>313276882</c:v>
                </c:pt>
                <c:pt idx="1">
                  <c:v>103052369</c:v>
                </c:pt>
                <c:pt idx="2">
                  <c:v>58602609</c:v>
                </c:pt>
                <c:pt idx="3">
                  <c:v>42331870</c:v>
                </c:pt>
                <c:pt idx="4">
                  <c:v>37943291</c:v>
                </c:pt>
                <c:pt idx="5">
                  <c:v>27380585</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Caribbean Beach</c:v>
                  </c:pt>
                  <c:pt idx="3">
                    <c:v>Banana Boat</c:v>
                  </c:pt>
                  <c:pt idx="4">
                    <c:v>Nuvel</c:v>
                  </c:pt>
                  <c:pt idx="5">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0"/>
          <c:min val="6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145BEC6-1655-4102-882F-A3A0DAF389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A028AA9-B829-48CE-B323-D01DEC71FE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E09949C-9827-4C32-AC4B-1959EB5BD0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A2CD080-9D95-48B3-A903-04753C9119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B82E043-4B4B-4042-8C07-89BB97FBBB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CEBC22D-FD8B-4CCF-9679-69315AE55D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29A0E4F-272C-41CB-9BC0-585EC50E1D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043B85A-BDC3-44F8-9737-2B54AD54E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657.53</c:v>
                </c:pt>
                <c:pt idx="1">
                  <c:v>539.44320000000005</c:v>
                </c:pt>
                <c:pt idx="2">
                  <c:v>718.29409999999996</c:v>
                </c:pt>
              </c:numCache>
            </c:numRef>
          </c:xVal>
          <c:yVal>
            <c:numRef>
              <c:f>Sheet1!$B$2:$B$4</c:f>
              <c:numCache>
                <c:formatCode>General</c:formatCode>
                <c:ptCount val="3"/>
                <c:pt idx="0">
                  <c:v>0.98299999999999998</c:v>
                </c:pt>
                <c:pt idx="1">
                  <c:v>1.0369999999999999</c:v>
                </c:pt>
                <c:pt idx="2">
                  <c:v>0</c:v>
                </c:pt>
              </c:numCache>
            </c:numRef>
          </c:yVal>
          <c:bubbleSize>
            <c:numRef>
              <c:f>Sheet1!$C$2:$C$4</c:f>
              <c:numCache>
                <c:formatCode>General</c:formatCode>
                <c:ptCount val="3"/>
                <c:pt idx="0">
                  <c:v>2693243</c:v>
                </c:pt>
                <c:pt idx="1">
                  <c:v>284826</c:v>
                </c:pt>
                <c:pt idx="2">
                  <c:v>36633</c:v>
                </c:pt>
              </c:numCache>
            </c:numRef>
          </c:bubbleSize>
          <c:bubble3D val="0"/>
          <c:extLst>
            <c:ext xmlns:c15="http://schemas.microsoft.com/office/drawing/2012/chart" uri="{02D57815-91ED-43cb-92C2-25804820EDAC}">
              <c15:datalabelsRange>
                <c15:f>Sheet1!$E$2:$E$10</c15:f>
                <c15:dlblRangeCache>
                  <c:ptCount val="9"/>
                  <c:pt idx="0">
                    <c:v>Photoderm</c:v>
                  </c:pt>
                  <c:pt idx="1">
                    <c:v>La Roche-Posay</c:v>
                  </c:pt>
                  <c:pt idx="2">
                    <c:v>Genov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62"/>
          <c:min val="43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46998C7-7C06-4C00-B69E-7DCC17F6EC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8A36F983-1F81-4E83-8B3A-4E9B9049AC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AEB62B6-8F1C-4A02-A385-735D06F5DB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0F6A0C0-3F39-4336-AB2F-C57BFC33AC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85CA5A0-4FB7-44A9-93A8-D1D522BB1B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DD4BA08-88A6-461B-BA76-97809AD816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70B296B-534B-442C-9170-0697AFDA11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F3F0CCA-DECE-4063-8212-9871674AEB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428.661</c:v>
                </c:pt>
              </c:numCache>
            </c:numRef>
          </c:xVal>
          <c:yVal>
            <c:numRef>
              <c:f>Sheet1!$B$2:$B$2</c:f>
              <c:numCache>
                <c:formatCode>General</c:formatCode>
                <c:ptCount val="1"/>
                <c:pt idx="0">
                  <c:v>1</c:v>
                </c:pt>
              </c:numCache>
            </c:numRef>
          </c:yVal>
          <c:bubbleSize>
            <c:numRef>
              <c:f>Sheet1!$C$2:$C$2</c:f>
              <c:numCache>
                <c:formatCode>General</c:formatCode>
                <c:ptCount val="1"/>
                <c:pt idx="0">
                  <c:v>4708412</c:v>
                </c:pt>
              </c:numCache>
            </c:numRef>
          </c:bubbleSize>
          <c:bubble3D val="0"/>
          <c:extLst>
            <c:ext xmlns:c15="http://schemas.microsoft.com/office/drawing/2012/chart" uri="{02D57815-91ED-43cb-92C2-25804820EDAC}">
              <c15:datalabelsRange>
                <c15:f>Sheet1!$E$2:$E$10</c15:f>
                <c15:dlblRangeCache>
                  <c:ptCount val="9"/>
                  <c:pt idx="0">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14"/>
          <c:min val="34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6445DEA-A928-4516-94AC-B20BB546A6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1F31DA0-66E1-4D7D-9604-56AA78BA8E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DB861B7-232E-4742-B1A6-A5DAC80106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3791E3B-4EB3-49A6-9E32-6B9EE58F9E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576C779-4C75-45C6-80D1-658DE5A089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1F37BA1-BB89-4538-AA3C-A4476AE8AD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F81B366-EDD5-4CFD-918B-84BC9342DF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A6B16E3-DC27-4B86-8000-0E86AF2C44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45.435</c:v>
                </c:pt>
                <c:pt idx="1">
                  <c:v>74.766199999999998</c:v>
                </c:pt>
              </c:numCache>
            </c:numRef>
          </c:xVal>
          <c:yVal>
            <c:numRef>
              <c:f>Sheet1!$B$2:$B$3</c:f>
              <c:numCache>
                <c:formatCode>General</c:formatCode>
                <c:ptCount val="2"/>
                <c:pt idx="0">
                  <c:v>1.2470000000000001</c:v>
                </c:pt>
                <c:pt idx="1">
                  <c:v>0.74399999999999999</c:v>
                </c:pt>
              </c:numCache>
            </c:numRef>
          </c:yVal>
          <c:bubbleSize>
            <c:numRef>
              <c:f>Sheet1!$C$2:$C$3</c:f>
              <c:numCache>
                <c:formatCode>General</c:formatCode>
                <c:ptCount val="2"/>
                <c:pt idx="0">
                  <c:v>34943802</c:v>
                </c:pt>
                <c:pt idx="1">
                  <c:v>16190032</c:v>
                </c:pt>
              </c:numCache>
            </c:numRef>
          </c:bubbleSize>
          <c:bubble3D val="0"/>
          <c:extLst>
            <c:ext xmlns:c15="http://schemas.microsoft.com/office/drawing/2012/chart" uri="{02D57815-91ED-43cb-92C2-25804820EDAC}">
              <c15:datalabelsRange>
                <c15:f>Sheet1!$E$2:$E$10</c15:f>
                <c15:dlblRangeCache>
                  <c:ptCount val="9"/>
                  <c:pt idx="0">
                    <c:v>Banana Boat</c:v>
                  </c:pt>
                  <c:pt idx="1">
                    <c:v>Caribbean Bea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5"/>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E51AF90-69FD-44C1-B595-1DEF2EB54E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3BDB083-0ACF-4DF1-9C4B-2EF24600F8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D9C526A-3454-4869-A68F-67F45FDA81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8F9D743-1344-4040-A9A9-DAFFCB1C6D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3832A3F-3B9F-434F-BCD9-EFBB816E55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A1D1120-45D4-4B6B-B4F2-FAF3272EA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B44D834-D607-4BC1-8363-8F4C3C1950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D6D0693-6FD4-4C0C-AF53-9A3113B8B2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98.7268</c:v>
                </c:pt>
                <c:pt idx="1">
                  <c:v>263.1438</c:v>
                </c:pt>
              </c:numCache>
            </c:numRef>
          </c:xVal>
          <c:yVal>
            <c:numRef>
              <c:f>Sheet1!$B$2:$B$3</c:f>
              <c:numCache>
                <c:formatCode>General</c:formatCode>
                <c:ptCount val="2"/>
                <c:pt idx="0">
                  <c:v>0.97699999999999998</c:v>
                </c:pt>
                <c:pt idx="1">
                  <c:v>1.06</c:v>
                </c:pt>
              </c:numCache>
            </c:numRef>
          </c:yVal>
          <c:bubbleSize>
            <c:numRef>
              <c:f>Sheet1!$C$2:$C$3</c:f>
              <c:numCache>
                <c:formatCode>General</c:formatCode>
                <c:ptCount val="2"/>
                <c:pt idx="0">
                  <c:v>51049534</c:v>
                </c:pt>
                <c:pt idx="1">
                  <c:v>20995979</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6"/>
          <c:min val="1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84B4AC2-FC8F-4720-9ADF-A456718C12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87C12B31-AFEE-43CF-A32F-07998E2E5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A310D36-CD87-4EA7-9E22-9F5974FB47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A63CCA3-74D0-4B84-841A-B24FCA63C9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325C310-B499-446F-8100-22994EFC38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34EA257-3882-45E1-AE4A-E42DA3C251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9638D65-3F00-4EF8-B3DF-B4D2C40743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BCE5681-D928-4F81-8CC9-BA25A28F65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47.22380000000001</c:v>
                </c:pt>
              </c:numCache>
            </c:numRef>
          </c:xVal>
          <c:yVal>
            <c:numRef>
              <c:f>Sheet1!$B$2:$B$2</c:f>
              <c:numCache>
                <c:formatCode>General</c:formatCode>
                <c:ptCount val="1"/>
                <c:pt idx="0">
                  <c:v>0.99099999999999999</c:v>
                </c:pt>
              </c:numCache>
            </c:numRef>
          </c:yVal>
          <c:bubbleSize>
            <c:numRef>
              <c:f>Sheet1!$C$2:$C$2</c:f>
              <c:numCache>
                <c:formatCode>General</c:formatCode>
                <c:ptCount val="1"/>
                <c:pt idx="0">
                  <c:v>21721822</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7"/>
          <c:min val="19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2E85D6B-5886-4EDE-934F-9F174C1CD0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4472EAEF-C2D4-4189-8217-0AEAB88E0C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7FAB796-AB86-48FD-9BA9-C1051161B2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C96C6C1-1C10-4C90-9D1D-A3ED598F1C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179B20D-8D37-497E-91B9-63E7705699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120E26C-FCDE-498E-93D7-F0EDC92B48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510ACBC-07DA-4C18-A210-5B405572D2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F77CDFA-08E7-4214-BBE5-2B14343691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3.387</c:v>
                </c:pt>
              </c:numCache>
            </c:numRef>
          </c:xVal>
          <c:yVal>
            <c:numRef>
              <c:f>Sheet1!$B$2:$B$2</c:f>
              <c:numCache>
                <c:formatCode>General</c:formatCode>
                <c:ptCount val="1"/>
                <c:pt idx="0">
                  <c:v>1</c:v>
                </c:pt>
              </c:numCache>
            </c:numRef>
          </c:yVal>
          <c:bubbleSize>
            <c:numRef>
              <c:f>Sheet1!$C$2:$C$2</c:f>
              <c:numCache>
                <c:formatCode>General</c:formatCode>
                <c:ptCount val="1"/>
                <c:pt idx="0">
                  <c:v>1434285</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4"/>
          <c:min val="16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C839074-6739-4349-9503-A275D3D5F0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CE22AEA-DD9C-402D-81FC-34EB568451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2F467A8-553C-4B81-8559-9B80CB6922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3C72BC5-72F5-4E0C-8C04-246FF5AE25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1C43B01-6F9B-41AC-AE64-E02F080D12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0435845-D6D0-4568-84EF-51F73935DF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BA06798-81D8-4590-9EDF-CE692F5FAF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B6D4397-5E6E-43DE-BC1F-84400046AF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08.94280000000001</c:v>
                </c:pt>
                <c:pt idx="1">
                  <c:v>393.6909</c:v>
                </c:pt>
                <c:pt idx="2">
                  <c:v>320.19260000000003</c:v>
                </c:pt>
              </c:numCache>
            </c:numRef>
          </c:xVal>
          <c:yVal>
            <c:numRef>
              <c:f>Sheet1!$B$2:$B$4</c:f>
              <c:numCache>
                <c:formatCode>General</c:formatCode>
                <c:ptCount val="3"/>
                <c:pt idx="0">
                  <c:v>0.60199999999999998</c:v>
                </c:pt>
                <c:pt idx="1">
                  <c:v>2.2010000000000001</c:v>
                </c:pt>
                <c:pt idx="2">
                  <c:v>2.2890000000000001</c:v>
                </c:pt>
              </c:numCache>
            </c:numRef>
          </c:yVal>
          <c:bubbleSize>
            <c:numRef>
              <c:f>Sheet1!$C$2:$C$4</c:f>
              <c:numCache>
                <c:formatCode>General</c:formatCode>
                <c:ptCount val="3"/>
                <c:pt idx="0">
                  <c:v>792520</c:v>
                </c:pt>
                <c:pt idx="1">
                  <c:v>599985</c:v>
                </c:pt>
                <c:pt idx="2">
                  <c:v>319232</c:v>
                </c:pt>
              </c:numCache>
            </c:numRef>
          </c:bubbleSize>
          <c:bubble3D val="0"/>
          <c:extLst>
            <c:ext xmlns:c15="http://schemas.microsoft.com/office/drawing/2012/chart" uri="{02D57815-91ED-43cb-92C2-25804820EDAC}">
              <c15:datalabelsRange>
                <c15:f>Sheet1!$E$2:$E$10</c15:f>
                <c15:dlblRangeCache>
                  <c:ptCount val="9"/>
                  <c:pt idx="0">
                    <c:v>Banana Boat</c:v>
                  </c:pt>
                  <c:pt idx="1">
                    <c:v>Australian Gold</c:v>
                  </c:pt>
                  <c:pt idx="2">
                    <c:v>Ocean Po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72"/>
          <c:min val="16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90EB11C-9348-4D11-B81C-50D1812117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43A16E12-94AA-4D5F-9FA4-797C869552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D8ED825-8DA7-4E4B-A707-C98C2CA902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7788C09-F607-4A37-B28B-C4AA3E44D2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333F4F5-0D71-42D7-BC66-F3A67AE30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33965F3-8C7E-4D59-BFD6-34C74F8620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7B04CCA-D2D3-43E2-9E02-BE9B61CBDB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46E8CE2-D0B5-4CF4-A2A2-0B43288737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508.55500000000001</c:v>
                </c:pt>
              </c:numCache>
            </c:numRef>
          </c:xVal>
          <c:yVal>
            <c:numRef>
              <c:f>Sheet1!$B$2:$B$2</c:f>
              <c:numCache>
                <c:formatCode>General</c:formatCode>
                <c:ptCount val="1"/>
                <c:pt idx="0">
                  <c:v>1</c:v>
                </c:pt>
              </c:numCache>
            </c:numRef>
          </c:yVal>
          <c:bubbleSize>
            <c:numRef>
              <c:f>Sheet1!$C$2:$C$2</c:f>
              <c:numCache>
                <c:formatCode>General</c:formatCode>
                <c:ptCount val="1"/>
                <c:pt idx="0">
                  <c:v>101711</c:v>
                </c:pt>
              </c:numCache>
            </c:numRef>
          </c:bubbleSize>
          <c:bubble3D val="0"/>
          <c:extLst>
            <c:ext xmlns:c15="http://schemas.microsoft.com/office/drawing/2012/chart" uri="{02D57815-91ED-43cb-92C2-25804820EDAC}">
              <c15:datalabelsRange>
                <c15:f>Sheet1!$E$2:$E$10</c15:f>
                <c15:dlblRangeCache>
                  <c:ptCount val="9"/>
                  <c:pt idx="0">
                    <c:v>Helio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10"/>
          <c:min val="40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Isdin</c:v>
                </c:pt>
                <c:pt idx="2">
                  <c:v>La Roche-Posay</c:v>
                </c:pt>
                <c:pt idx="3">
                  <c:v>Others Marca Unif.</c:v>
                </c:pt>
                <c:pt idx="4">
                  <c:v>Neutrogena</c:v>
                </c:pt>
                <c:pt idx="5">
                  <c:v>Photoderm</c:v>
                </c:pt>
                <c:pt idx="6">
                  <c:v>Heliocare</c:v>
                </c:pt>
              </c:strCache>
            </c:strRef>
          </c:cat>
          <c:val>
            <c:numRef>
              <c:f>Sheet1!$B$2:$B$8</c:f>
              <c:numCache>
                <c:formatCode>General</c:formatCode>
                <c:ptCount val="7"/>
                <c:pt idx="0">
                  <c:v>174.54990000000001</c:v>
                </c:pt>
                <c:pt idx="3">
                  <c:v>143.350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Isdin</c:v>
                </c:pt>
                <c:pt idx="2">
                  <c:v>La Roche-Posay</c:v>
                </c:pt>
                <c:pt idx="3">
                  <c:v>Others Marca Unif.</c:v>
                </c:pt>
                <c:pt idx="4">
                  <c:v>Neutrogena</c:v>
                </c:pt>
                <c:pt idx="5">
                  <c:v>Photoderm</c:v>
                </c:pt>
                <c:pt idx="6">
                  <c:v>Heliocare</c:v>
                </c:pt>
              </c:strCache>
            </c:strRef>
          </c:cat>
          <c:val>
            <c:numRef>
              <c:f>Sheet1!$C$2:$C$8</c:f>
              <c:numCache>
                <c:formatCode>General</c:formatCode>
                <c:ptCount val="7"/>
                <c:pt idx="0">
                  <c:v>270.1175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Isdin</c:v>
                </c:pt>
                <c:pt idx="2">
                  <c:v>La Roche-Posay</c:v>
                </c:pt>
                <c:pt idx="3">
                  <c:v>Others Marca Unif.</c:v>
                </c:pt>
                <c:pt idx="4">
                  <c:v>Neutrogena</c:v>
                </c:pt>
                <c:pt idx="5">
                  <c:v>Photoderm</c:v>
                </c:pt>
                <c:pt idx="6">
                  <c:v>Heliocare</c:v>
                </c:pt>
              </c:strCache>
            </c:strRef>
          </c:cat>
          <c:val>
            <c:numRef>
              <c:f>Sheet1!$D$2:$D$8</c:f>
              <c:numCache>
                <c:formatCode>General</c:formatCode>
                <c:ptCount val="7"/>
                <c:pt idx="1">
                  <c:v>631.3904999999999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Isdin</c:v>
                </c:pt>
                <c:pt idx="2">
                  <c:v>La Roche-Posay</c:v>
                </c:pt>
                <c:pt idx="3">
                  <c:v>Others Marca Unif.</c:v>
                </c:pt>
                <c:pt idx="4">
                  <c:v>Neutrogena</c:v>
                </c:pt>
                <c:pt idx="5">
                  <c:v>Photoderm</c:v>
                </c:pt>
                <c:pt idx="6">
                  <c:v>Heliocare</c:v>
                </c:pt>
              </c:strCache>
            </c:strRef>
          </c:cat>
          <c:val>
            <c:numRef>
              <c:f>Sheet1!$E$2:$E$8</c:f>
              <c:numCache>
                <c:formatCode>General</c:formatCode>
                <c:ptCount val="7"/>
                <c:pt idx="0">
                  <c:v>263.08609999999999</c:v>
                </c:pt>
                <c:pt idx="4">
                  <c:v>318.50599999999997</c:v>
                </c:pt>
                <c:pt idx="5">
                  <c:v>678.2768999999999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Isdin</c:v>
                </c:pt>
                <c:pt idx="2">
                  <c:v>La Roche-Posay</c:v>
                </c:pt>
                <c:pt idx="3">
                  <c:v>Others Marca Unif.</c:v>
                </c:pt>
                <c:pt idx="4">
                  <c:v>Neutrogena</c:v>
                </c:pt>
                <c:pt idx="5">
                  <c:v>Photoderm</c:v>
                </c:pt>
                <c:pt idx="6">
                  <c:v>Heliocare</c:v>
                </c:pt>
              </c:strCache>
            </c:strRef>
          </c:cat>
          <c:val>
            <c:numRef>
              <c:f>Sheet1!$F$2:$F$8</c:f>
              <c:numCache>
                <c:formatCode>General</c:formatCode>
                <c:ptCount val="7"/>
                <c:pt idx="0">
                  <c:v>248.50540000000001</c:v>
                </c:pt>
                <c:pt idx="1">
                  <c:v>622.76530000000002</c:v>
                </c:pt>
                <c:pt idx="2">
                  <c:v>616.1585</c:v>
                </c:pt>
                <c:pt idx="6">
                  <c:v>629.05190000000005</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ivea</c:v>
                </c:pt>
                <c:pt idx="1">
                  <c:v>Isdin</c:v>
                </c:pt>
                <c:pt idx="2">
                  <c:v>La Roche-Posay</c:v>
                </c:pt>
                <c:pt idx="3">
                  <c:v>Neutrogena</c:v>
                </c:pt>
                <c:pt idx="4">
                  <c:v>Photoderm</c:v>
                </c:pt>
                <c:pt idx="5">
                  <c:v>Heliocare</c:v>
                </c:pt>
              </c:strCache>
            </c:strRef>
          </c:cat>
          <c:val>
            <c:numRef>
              <c:f>Sheet1!$B$2:$B$7</c:f>
              <c:numCache>
                <c:formatCode>General</c:formatCode>
                <c:ptCount val="6"/>
                <c:pt idx="0">
                  <c:v>173.08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Isdin</c:v>
                </c:pt>
                <c:pt idx="2">
                  <c:v>La Roche-Posay</c:v>
                </c:pt>
                <c:pt idx="3">
                  <c:v>Neutrogena</c:v>
                </c:pt>
                <c:pt idx="4">
                  <c:v>Photoderm</c:v>
                </c:pt>
                <c:pt idx="5">
                  <c:v>Heliocare</c:v>
                </c:pt>
              </c:strCache>
            </c:strRef>
          </c:cat>
          <c:val>
            <c:numRef>
              <c:f>Sheet1!$C$2:$C$7</c:f>
              <c:numCache>
                <c:formatCode>General</c:formatCode>
                <c:ptCount val="6"/>
                <c:pt idx="0">
                  <c:v>271.21730000000002</c:v>
                </c:pt>
                <c:pt idx="3">
                  <c:v>303.08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Isdin</c:v>
                </c:pt>
                <c:pt idx="2">
                  <c:v>La Roche-Posay</c:v>
                </c:pt>
                <c:pt idx="3">
                  <c:v>Neutrogena</c:v>
                </c:pt>
                <c:pt idx="4">
                  <c:v>Photoderm</c:v>
                </c:pt>
                <c:pt idx="5">
                  <c:v>Heliocare</c:v>
                </c:pt>
              </c:strCache>
            </c:strRef>
          </c:cat>
          <c:val>
            <c:numRef>
              <c:f>Sheet1!$D$2:$D$7</c:f>
              <c:numCache>
                <c:formatCode>General</c:formatCode>
                <c:ptCount val="6"/>
                <c:pt idx="1">
                  <c:v>636.3171999999999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Isdin</c:v>
                </c:pt>
                <c:pt idx="2">
                  <c:v>La Roche-Posay</c:v>
                </c:pt>
                <c:pt idx="3">
                  <c:v>Neutrogena</c:v>
                </c:pt>
                <c:pt idx="4">
                  <c:v>Photoderm</c:v>
                </c:pt>
                <c:pt idx="5">
                  <c:v>Heliocare</c:v>
                </c:pt>
              </c:strCache>
            </c:strRef>
          </c:cat>
          <c:val>
            <c:numRef>
              <c:f>Sheet1!$E$2:$E$7</c:f>
              <c:numCache>
                <c:formatCode>General</c:formatCode>
                <c:ptCount val="6"/>
                <c:pt idx="0">
                  <c:v>262.66410000000002</c:v>
                </c:pt>
                <c:pt idx="3">
                  <c:v>318.8759</c:v>
                </c:pt>
                <c:pt idx="4">
                  <c:v>703.3445000000000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Isdin</c:v>
                </c:pt>
                <c:pt idx="2">
                  <c:v>La Roche-Posay</c:v>
                </c:pt>
                <c:pt idx="3">
                  <c:v>Neutrogena</c:v>
                </c:pt>
                <c:pt idx="4">
                  <c:v>Photoderm</c:v>
                </c:pt>
                <c:pt idx="5">
                  <c:v>Heliocare</c:v>
                </c:pt>
              </c:strCache>
            </c:strRef>
          </c:cat>
          <c:val>
            <c:numRef>
              <c:f>Sheet1!$F$2:$F$7</c:f>
              <c:numCache>
                <c:formatCode>General</c:formatCode>
                <c:ptCount val="6"/>
                <c:pt idx="0">
                  <c:v>247.4402</c:v>
                </c:pt>
                <c:pt idx="1">
                  <c:v>620.6019</c:v>
                </c:pt>
                <c:pt idx="2">
                  <c:v>624.36379999999997</c:v>
                </c:pt>
                <c:pt idx="5">
                  <c:v>632.2820000000000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348A6D7-E4F5-4F57-972F-F6B269636C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EAB4F7EA-5D36-4C03-9A15-EBA41DEA56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8A779CE-18E6-43FA-A8C1-ED47503F54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6023B02-4BC1-46AD-866D-C31CE1715D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650D372-B8A2-4C22-8B96-4F06F42332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08803AE-872D-4AD2-942E-706ADF70E5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FEDF629-6DA5-4BC8-B597-90AB90ACB8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69829E1-E604-4AAC-8B3D-D08994A489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8.1935</c:v>
                </c:pt>
              </c:numCache>
            </c:numRef>
          </c:xVal>
          <c:yVal>
            <c:numRef>
              <c:f>Sheet1!$B$2:$B$2</c:f>
              <c:numCache>
                <c:formatCode>General</c:formatCode>
                <c:ptCount val="1"/>
                <c:pt idx="0">
                  <c:v>1</c:v>
                </c:pt>
              </c:numCache>
            </c:numRef>
          </c:yVal>
          <c:bubbleSize>
            <c:numRef>
              <c:f>Sheet1!$C$2:$C$2</c:f>
              <c:numCache>
                <c:formatCode>General</c:formatCode>
                <c:ptCount val="1"/>
                <c:pt idx="0">
                  <c:v>14208</c:v>
                </c:pt>
              </c:numCache>
            </c:numRef>
          </c:bubbleSize>
          <c:bubble3D val="0"/>
          <c:extLst>
            <c:ext xmlns:c15="http://schemas.microsoft.com/office/drawing/2012/chart" uri="{02D57815-91ED-43cb-92C2-25804820EDAC}">
              <c15:datalabelsRange>
                <c15:f>Sheet1!$E$2:$E$10</c15:f>
                <c15:dlblRangeCache>
                  <c:ptCount val="9"/>
                  <c:pt idx="0">
                    <c:v>Hawaiian Trop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sdin</c:v>
                </c:pt>
                <c:pt idx="1">
                  <c:v>La Roche-Posay</c:v>
                </c:pt>
                <c:pt idx="2">
                  <c:v>Nivea</c:v>
                </c:pt>
                <c:pt idx="3">
                  <c:v>Others Marca Unif.</c:v>
                </c:pt>
                <c:pt idx="4">
                  <c:v>Photoderm</c:v>
                </c:pt>
                <c:pt idx="5">
                  <c:v>Neutrogena</c:v>
                </c:pt>
              </c:strCache>
            </c:strRef>
          </c:cat>
          <c:val>
            <c:numRef>
              <c:f>Sheet1!$B$2:$B$7</c:f>
              <c:numCache>
                <c:formatCode>General</c:formatCode>
                <c:ptCount val="6"/>
                <c:pt idx="2">
                  <c:v>170.668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La Roche-Posay</c:v>
                </c:pt>
                <c:pt idx="2">
                  <c:v>Nivea</c:v>
                </c:pt>
                <c:pt idx="3">
                  <c:v>Others Marca Unif.</c:v>
                </c:pt>
                <c:pt idx="4">
                  <c:v>Photoderm</c:v>
                </c:pt>
                <c:pt idx="5">
                  <c:v>Neutrogena</c:v>
                </c:pt>
              </c:strCache>
            </c:strRef>
          </c:cat>
          <c:val>
            <c:numRef>
              <c:f>Sheet1!$C$2:$C$7</c:f>
              <c:numCache>
                <c:formatCode>General</c:formatCode>
                <c:ptCount val="6"/>
                <c:pt idx="0">
                  <c:v>650.67669999999998</c:v>
                </c:pt>
                <c:pt idx="2">
                  <c:v>335.595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La Roche-Posay</c:v>
                </c:pt>
                <c:pt idx="2">
                  <c:v>Nivea</c:v>
                </c:pt>
                <c:pt idx="3">
                  <c:v>Others Marca Unif.</c:v>
                </c:pt>
                <c:pt idx="4">
                  <c:v>Photoderm</c:v>
                </c:pt>
                <c:pt idx="5">
                  <c:v>Neutrogena</c:v>
                </c:pt>
              </c:strCache>
            </c:strRef>
          </c:cat>
          <c:val>
            <c:numRef>
              <c:f>Sheet1!$D$2:$D$7</c:f>
              <c:numCache>
                <c:formatCode>General</c:formatCode>
                <c:ptCount val="6"/>
                <c:pt idx="0">
                  <c:v>643.7161999999999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La Roche-Posay</c:v>
                </c:pt>
                <c:pt idx="2">
                  <c:v>Nivea</c:v>
                </c:pt>
                <c:pt idx="3">
                  <c:v>Others Marca Unif.</c:v>
                </c:pt>
                <c:pt idx="4">
                  <c:v>Photoderm</c:v>
                </c:pt>
                <c:pt idx="5">
                  <c:v>Neutrogena</c:v>
                </c:pt>
              </c:strCache>
            </c:strRef>
          </c:cat>
          <c:val>
            <c:numRef>
              <c:f>Sheet1!$E$2:$E$7</c:f>
              <c:numCache>
                <c:formatCode>General</c:formatCode>
                <c:ptCount val="6"/>
                <c:pt idx="3">
                  <c:v>547.59569999999997</c:v>
                </c:pt>
                <c:pt idx="4">
                  <c:v>746.46079999999995</c:v>
                </c:pt>
                <c:pt idx="5">
                  <c:v>345.699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La Roche-Posay</c:v>
                </c:pt>
                <c:pt idx="2">
                  <c:v>Nivea</c:v>
                </c:pt>
                <c:pt idx="3">
                  <c:v>Others Marca Unif.</c:v>
                </c:pt>
                <c:pt idx="4">
                  <c:v>Photoderm</c:v>
                </c:pt>
                <c:pt idx="5">
                  <c:v>Neutrogena</c:v>
                </c:pt>
              </c:strCache>
            </c:strRef>
          </c:cat>
          <c:val>
            <c:numRef>
              <c:f>Sheet1!$F$2:$F$7</c:f>
              <c:numCache>
                <c:formatCode>General</c:formatCode>
                <c:ptCount val="6"/>
                <c:pt idx="0">
                  <c:v>630.09280000000001</c:v>
                </c:pt>
                <c:pt idx="1">
                  <c:v>636.95910000000003</c:v>
                </c:pt>
                <c:pt idx="2">
                  <c:v>300.22039999999998</c:v>
                </c:pt>
                <c:pt idx="3">
                  <c:v>954.8650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75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sdin</c:v>
                </c:pt>
                <c:pt idx="1">
                  <c:v>La Roche-Posay</c:v>
                </c:pt>
                <c:pt idx="2">
                  <c:v>Nivea</c:v>
                </c:pt>
                <c:pt idx="3">
                  <c:v>Others Marca Unif.</c:v>
                </c:pt>
                <c:pt idx="4">
                  <c:v>Photoderm</c:v>
                </c:pt>
                <c:pt idx="5">
                  <c:v>Neutrogena</c:v>
                </c:pt>
              </c:strCache>
            </c:strRef>
          </c:cat>
          <c:val>
            <c:numRef>
              <c:f>Sheet1!$G$2:$G$7</c:f>
              <c:numCache>
                <c:formatCode>General</c:formatCode>
                <c:ptCount val="6"/>
                <c:pt idx="1">
                  <c:v>548.47860000000003</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Others Marca Unif.</c:v>
                </c:pt>
                <c:pt idx="2">
                  <c:v>Nuvel</c:v>
                </c:pt>
                <c:pt idx="3">
                  <c:v>Total Care De Mexico: All Others</c:v>
                </c:pt>
              </c:strCache>
            </c:strRef>
          </c:cat>
          <c:val>
            <c:numRef>
              <c:f>Sheet1!$B$2:$B$6</c:f>
              <c:numCache>
                <c:formatCode>General</c:formatCode>
                <c:ptCount val="5"/>
                <c:pt idx="1">
                  <c:v>101.952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Others Marca Unif.</c:v>
                </c:pt>
                <c:pt idx="2">
                  <c:v>Nuvel</c:v>
                </c:pt>
                <c:pt idx="3">
                  <c:v>Total Care De Mexico: All Others</c:v>
                </c:pt>
              </c:strCache>
            </c:strRef>
          </c:cat>
          <c:val>
            <c:numRef>
              <c:f>Sheet1!$C$2:$C$6</c:f>
              <c:numCache>
                <c:formatCode>General</c:formatCode>
                <c:ptCount val="5"/>
                <c:pt idx="2">
                  <c:v>96.87730000000000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Others Marca Unif.</c:v>
                </c:pt>
                <c:pt idx="2">
                  <c:v>Nuvel</c:v>
                </c:pt>
                <c:pt idx="3">
                  <c:v>Total Care De Mexico: All Others</c:v>
                </c:pt>
              </c:strCache>
            </c:strRef>
          </c:cat>
          <c:val>
            <c:numRef>
              <c:f>Sheet1!$D$2:$D$6</c:f>
              <c:numCache>
                <c:formatCode>General</c:formatCode>
                <c:ptCount val="5"/>
                <c:pt idx="0">
                  <c:v>169.53790000000001</c:v>
                </c:pt>
                <c:pt idx="1">
                  <c:v>135.8572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Others Marca Unif.</c:v>
                </c:pt>
                <c:pt idx="2">
                  <c:v>Nuvel</c:v>
                </c:pt>
                <c:pt idx="3">
                  <c:v>Total Care De Mexico: All Others</c:v>
                </c:pt>
              </c:strCache>
            </c:strRef>
          </c:cat>
          <c:val>
            <c:numRef>
              <c:f>Sheet1!$E$2:$E$8</c:f>
              <c:numCache>
                <c:formatCode>General</c:formatCode>
                <c:ptCount val="7"/>
                <c:pt idx="0">
                  <c:v>280.43060000000003</c:v>
                </c:pt>
                <c:pt idx="3">
                  <c:v>57.917099999999998</c:v>
                </c:pt>
                <c:pt idx="4">
                  <c:v>57.917099999999998</c:v>
                </c:pt>
                <c:pt idx="5">
                  <c:v>57.917099999999998</c:v>
                </c:pt>
                <c:pt idx="6">
                  <c:v>57.917099999999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Others Marca Unif.</c:v>
                </c:pt>
                <c:pt idx="2">
                  <c:v>Nuvel</c:v>
                </c:pt>
                <c:pt idx="3">
                  <c:v>Total Care De Mexico: All Others</c:v>
                </c:pt>
              </c:strCache>
            </c:strRef>
          </c:cat>
          <c:val>
            <c:numRef>
              <c:f>Sheet1!$F$2:$F$6</c:f>
              <c:numCache>
                <c:formatCode>General</c:formatCode>
                <c:ptCount val="5"/>
                <c:pt idx="1">
                  <c:v>154.5048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Others Marca Unif.</c:v>
                </c:pt>
                <c:pt idx="2">
                  <c:v>Nuvel</c:v>
                </c:pt>
                <c:pt idx="3">
                  <c:v>Total Care De Mexico: All Others</c:v>
                </c:pt>
              </c:strCache>
            </c:strRef>
          </c:cat>
          <c:val>
            <c:numRef>
              <c:f>Sheet1!$G$2:$G$6</c:f>
              <c:numCache>
                <c:formatCode>General</c:formatCode>
                <c:ptCount val="5"/>
                <c:pt idx="0">
                  <c:v>273.6866999999999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Others Marca Unif.</c:v>
                </c:pt>
                <c:pt idx="2">
                  <c:v>Nuvel</c:v>
                </c:pt>
                <c:pt idx="3">
                  <c:v>Total Care De Mexico: All Others</c:v>
                </c:pt>
              </c:strCache>
            </c:strRef>
          </c:cat>
          <c:val>
            <c:numRef>
              <c:f>Sheet1!$H$2:$H$6</c:f>
              <c:numCache>
                <c:formatCode>General</c:formatCode>
                <c:ptCount val="5"/>
                <c:pt idx="0">
                  <c:v>231.357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Others Marca Unif.</c:v>
                </c:pt>
                <c:pt idx="2">
                  <c:v>Nuvel</c:v>
                </c:pt>
                <c:pt idx="3">
                  <c:v>Total Care De Mexico: All Others</c:v>
                </c:pt>
              </c:strCache>
            </c:strRef>
          </c:cat>
          <c:val>
            <c:numRef>
              <c:f>Sheet1!$I$2:$I$6</c:f>
              <c:numCache>
                <c:formatCode>General</c:formatCode>
                <c:ptCount val="5"/>
                <c:pt idx="1">
                  <c:v>97.3934</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B$2:$B$8</c:f>
              <c:numCache>
                <c:formatCode>General</c:formatCode>
                <c:ptCount val="7"/>
                <c:pt idx="1">
                  <c:v>182.76990000000001</c:v>
                </c:pt>
                <c:pt idx="5">
                  <c:v>74.3605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C$2:$C$8</c:f>
              <c:numCache>
                <c:formatCode>General</c:formatCode>
                <c:ptCount val="7"/>
                <c:pt idx="0">
                  <c:v>175.0946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D$2:$D$8</c:f>
              <c:numCache>
                <c:formatCode>General</c:formatCode>
                <c:ptCount val="7"/>
                <c:pt idx="0">
                  <c:v>253.571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E$2:$E$8</c:f>
              <c:numCache>
                <c:formatCode>General</c:formatCode>
                <c:ptCount val="7"/>
                <c:pt idx="1">
                  <c:v>268.10469999999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F$2:$F$8</c:f>
              <c:numCache>
                <c:formatCode>General</c:formatCode>
                <c:ptCount val="7"/>
                <c:pt idx="0">
                  <c:v>257.13639999999998</c:v>
                </c:pt>
                <c:pt idx="3">
                  <c:v>304.4295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2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G$2:$G$8</c:f>
              <c:numCache>
                <c:formatCode>General</c:formatCode>
                <c:ptCount val="7"/>
                <c:pt idx="1">
                  <c:v>270.042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H$2:$H$8</c:f>
              <c:numCache>
                <c:formatCode>General</c:formatCode>
                <c:ptCount val="7"/>
                <c:pt idx="1">
                  <c:v>249.982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I$2:$I$8</c:f>
              <c:numCache>
                <c:formatCode>General</c:formatCode>
                <c:ptCount val="7"/>
                <c:pt idx="2">
                  <c:v>599.6027000000000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J$2:$J$8</c:f>
              <c:numCache>
                <c:formatCode>General</c:formatCode>
                <c:ptCount val="7"/>
                <c:pt idx="0">
                  <c:v>245.85820000000001</c:v>
                </c:pt>
                <c:pt idx="3">
                  <c:v>303.46109999999999</c:v>
                </c:pt>
                <c:pt idx="6">
                  <c:v>244.700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ML</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K$2:$K$8</c:f>
              <c:numCache>
                <c:formatCode>General</c:formatCode>
                <c:ptCount val="7"/>
                <c:pt idx="0">
                  <c:v>231.72989999999999</c:v>
                </c:pt>
                <c:pt idx="2">
                  <c:v>582.9502</c:v>
                </c:pt>
                <c:pt idx="4">
                  <c:v>549.83249999999998</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Nivea</c:v>
                </c:pt>
                <c:pt idx="1">
                  <c:v>Isdin</c:v>
                </c:pt>
                <c:pt idx="2">
                  <c:v>La Roche-Posay</c:v>
                </c:pt>
                <c:pt idx="3">
                  <c:v>Hawaiian Tropic</c:v>
                </c:pt>
                <c:pt idx="4">
                  <c:v>Others Marca Unif.</c:v>
                </c:pt>
                <c:pt idx="5">
                  <c:v>Neutrogena</c:v>
                </c:pt>
                <c:pt idx="6">
                  <c:v>Heliocare</c:v>
                </c:pt>
                <c:pt idx="7">
                  <c:v>Photoderm</c:v>
                </c:pt>
              </c:strCache>
            </c:strRef>
          </c:cat>
          <c:val>
            <c:numRef>
              <c:f>Sheet1!$B$2:$B$9</c:f>
              <c:numCache>
                <c:formatCode>General</c:formatCode>
                <c:ptCount val="8"/>
                <c:pt idx="0">
                  <c:v>174.7715</c:v>
                </c:pt>
                <c:pt idx="4">
                  <c:v>143.350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Isdin</c:v>
                </c:pt>
                <c:pt idx="2">
                  <c:v>La Roche-Posay</c:v>
                </c:pt>
                <c:pt idx="3">
                  <c:v>Hawaiian Tropic</c:v>
                </c:pt>
                <c:pt idx="4">
                  <c:v>Others Marca Unif.</c:v>
                </c:pt>
                <c:pt idx="5">
                  <c:v>Neutrogena</c:v>
                </c:pt>
                <c:pt idx="6">
                  <c:v>Heliocare</c:v>
                </c:pt>
                <c:pt idx="7">
                  <c:v>Photoderm</c:v>
                </c:pt>
              </c:strCache>
            </c:strRef>
          </c:cat>
          <c:val>
            <c:numRef>
              <c:f>Sheet1!$C$2:$C$9</c:f>
              <c:numCache>
                <c:formatCode>General</c:formatCode>
                <c:ptCount val="8"/>
                <c:pt idx="0">
                  <c:v>275.494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4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Isdin</c:v>
                </c:pt>
                <c:pt idx="2">
                  <c:v>La Roche-Posay</c:v>
                </c:pt>
                <c:pt idx="3">
                  <c:v>Hawaiian Tropic</c:v>
                </c:pt>
                <c:pt idx="4">
                  <c:v>Others Marca Unif.</c:v>
                </c:pt>
                <c:pt idx="5">
                  <c:v>Neutrogena</c:v>
                </c:pt>
                <c:pt idx="6">
                  <c:v>Heliocare</c:v>
                </c:pt>
                <c:pt idx="7">
                  <c:v>Photoderm</c:v>
                </c:pt>
              </c:strCache>
            </c:strRef>
          </c:cat>
          <c:val>
            <c:numRef>
              <c:f>Sheet1!$D$2:$D$9</c:f>
              <c:numCache>
                <c:formatCode>General</c:formatCode>
                <c:ptCount val="8"/>
                <c:pt idx="3">
                  <c:v>264.1204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Isdin</c:v>
                </c:pt>
                <c:pt idx="2">
                  <c:v>La Roche-Posay</c:v>
                </c:pt>
                <c:pt idx="3">
                  <c:v>Hawaiian Tropic</c:v>
                </c:pt>
                <c:pt idx="4">
                  <c:v>Others Marca Unif.</c:v>
                </c:pt>
                <c:pt idx="5">
                  <c:v>Neutrogena</c:v>
                </c:pt>
                <c:pt idx="6">
                  <c:v>Heliocare</c:v>
                </c:pt>
                <c:pt idx="7">
                  <c:v>Photoderm</c:v>
                </c:pt>
              </c:strCache>
            </c:strRef>
          </c:cat>
          <c:val>
            <c:numRef>
              <c:f>Sheet1!$E$2:$E$9</c:f>
              <c:numCache>
                <c:formatCode>General</c:formatCode>
                <c:ptCount val="8"/>
                <c:pt idx="1">
                  <c:v>631.3904999999999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Isdin</c:v>
                </c:pt>
                <c:pt idx="2">
                  <c:v>La Roche-Posay</c:v>
                </c:pt>
                <c:pt idx="3">
                  <c:v>Hawaiian Tropic</c:v>
                </c:pt>
                <c:pt idx="4">
                  <c:v>Others Marca Unif.</c:v>
                </c:pt>
                <c:pt idx="5">
                  <c:v>Neutrogena</c:v>
                </c:pt>
                <c:pt idx="6">
                  <c:v>Heliocare</c:v>
                </c:pt>
                <c:pt idx="7">
                  <c:v>Photoderm</c:v>
                </c:pt>
              </c:strCache>
            </c:strRef>
          </c:cat>
          <c:val>
            <c:numRef>
              <c:f>Sheet1!$F$2:$F$9</c:f>
              <c:numCache>
                <c:formatCode>General</c:formatCode>
                <c:ptCount val="8"/>
                <c:pt idx="0">
                  <c:v>263.08609999999999</c:v>
                </c:pt>
                <c:pt idx="5">
                  <c:v>320.7362</c:v>
                </c:pt>
                <c:pt idx="7">
                  <c:v>687.4799000000000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Nivea</c:v>
                </c:pt>
                <c:pt idx="1">
                  <c:v>Isdin</c:v>
                </c:pt>
                <c:pt idx="2">
                  <c:v>La Roche-Posay</c:v>
                </c:pt>
                <c:pt idx="3">
                  <c:v>Hawaiian Tropic</c:v>
                </c:pt>
                <c:pt idx="4">
                  <c:v>Others Marca Unif.</c:v>
                </c:pt>
                <c:pt idx="5">
                  <c:v>Neutrogena</c:v>
                </c:pt>
                <c:pt idx="6">
                  <c:v>Heliocare</c:v>
                </c:pt>
                <c:pt idx="7">
                  <c:v>Photoderm</c:v>
                </c:pt>
              </c:strCache>
            </c:strRef>
          </c:cat>
          <c:val>
            <c:numRef>
              <c:f>Sheet1!$G$2:$G$9</c:f>
              <c:numCache>
                <c:formatCode>General</c:formatCode>
                <c:ptCount val="8"/>
                <c:pt idx="0">
                  <c:v>248.50540000000001</c:v>
                </c:pt>
                <c:pt idx="1">
                  <c:v>622.76530000000002</c:v>
                </c:pt>
                <c:pt idx="2">
                  <c:v>617.04939999999999</c:v>
                </c:pt>
                <c:pt idx="4">
                  <c:v>526.50170000000003</c:v>
                </c:pt>
                <c:pt idx="6">
                  <c:v>629.05190000000005</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Nivea</c:v>
                </c:pt>
                <c:pt idx="1">
                  <c:v>Isdin</c:v>
                </c:pt>
                <c:pt idx="2">
                  <c:v>Hawaiian Tropic</c:v>
                </c:pt>
                <c:pt idx="3">
                  <c:v>La Roche-Posay</c:v>
                </c:pt>
                <c:pt idx="4">
                  <c:v>Others Marca Unif.</c:v>
                </c:pt>
                <c:pt idx="5">
                  <c:v>Neutrogena</c:v>
                </c:pt>
                <c:pt idx="6">
                  <c:v>Photoderm</c:v>
                </c:pt>
                <c:pt idx="7">
                  <c:v>Heliocare</c:v>
                </c:pt>
              </c:strCache>
            </c:strRef>
          </c:cat>
          <c:val>
            <c:numRef>
              <c:f>Sheet1!$B$2:$B$9</c:f>
              <c:numCache>
                <c:formatCode>General</c:formatCode>
                <c:ptCount val="8"/>
                <c:pt idx="0">
                  <c:v>173.089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Isdin</c:v>
                </c:pt>
                <c:pt idx="2">
                  <c:v>Hawaiian Tropic</c:v>
                </c:pt>
                <c:pt idx="3">
                  <c:v>La Roche-Posay</c:v>
                </c:pt>
                <c:pt idx="4">
                  <c:v>Others Marca Unif.</c:v>
                </c:pt>
                <c:pt idx="5">
                  <c:v>Neutrogena</c:v>
                </c:pt>
                <c:pt idx="6">
                  <c:v>Photoderm</c:v>
                </c:pt>
                <c:pt idx="7">
                  <c:v>Heliocare</c:v>
                </c:pt>
              </c:strCache>
            </c:strRef>
          </c:cat>
          <c:val>
            <c:numRef>
              <c:f>Sheet1!$C$2:$C$9</c:f>
              <c:numCache>
                <c:formatCode>General</c:formatCode>
                <c:ptCount val="8"/>
                <c:pt idx="0">
                  <c:v>275.9941</c:v>
                </c:pt>
                <c:pt idx="5">
                  <c:v>303.08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4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Isdin</c:v>
                </c:pt>
                <c:pt idx="2">
                  <c:v>Hawaiian Tropic</c:v>
                </c:pt>
                <c:pt idx="3">
                  <c:v>La Roche-Posay</c:v>
                </c:pt>
                <c:pt idx="4">
                  <c:v>Others Marca Unif.</c:v>
                </c:pt>
                <c:pt idx="5">
                  <c:v>Neutrogena</c:v>
                </c:pt>
                <c:pt idx="6">
                  <c:v>Photoderm</c:v>
                </c:pt>
                <c:pt idx="7">
                  <c:v>Heliocare</c:v>
                </c:pt>
              </c:strCache>
            </c:strRef>
          </c:cat>
          <c:val>
            <c:numRef>
              <c:f>Sheet1!$D$2:$D$9</c:f>
              <c:numCache>
                <c:formatCode>General</c:formatCode>
                <c:ptCount val="8"/>
                <c:pt idx="2">
                  <c:v>265.9517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Isdin</c:v>
                </c:pt>
                <c:pt idx="2">
                  <c:v>Hawaiian Tropic</c:v>
                </c:pt>
                <c:pt idx="3">
                  <c:v>La Roche-Posay</c:v>
                </c:pt>
                <c:pt idx="4">
                  <c:v>Others Marca Unif.</c:v>
                </c:pt>
                <c:pt idx="5">
                  <c:v>Neutrogena</c:v>
                </c:pt>
                <c:pt idx="6">
                  <c:v>Photoderm</c:v>
                </c:pt>
                <c:pt idx="7">
                  <c:v>Heliocare</c:v>
                </c:pt>
              </c:strCache>
            </c:strRef>
          </c:cat>
          <c:val>
            <c:numRef>
              <c:f>Sheet1!$E$2:$E$9</c:f>
              <c:numCache>
                <c:formatCode>General</c:formatCode>
                <c:ptCount val="8"/>
                <c:pt idx="1">
                  <c:v>636.3171999999999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Isdin</c:v>
                </c:pt>
                <c:pt idx="2">
                  <c:v>Hawaiian Tropic</c:v>
                </c:pt>
                <c:pt idx="3">
                  <c:v>La Roche-Posay</c:v>
                </c:pt>
                <c:pt idx="4">
                  <c:v>Others Marca Unif.</c:v>
                </c:pt>
                <c:pt idx="5">
                  <c:v>Neutrogena</c:v>
                </c:pt>
                <c:pt idx="6">
                  <c:v>Photoderm</c:v>
                </c:pt>
                <c:pt idx="7">
                  <c:v>Heliocare</c:v>
                </c:pt>
              </c:strCache>
            </c:strRef>
          </c:cat>
          <c:val>
            <c:numRef>
              <c:f>Sheet1!$F$2:$F$9</c:f>
              <c:numCache>
                <c:formatCode>General</c:formatCode>
                <c:ptCount val="8"/>
                <c:pt idx="0">
                  <c:v>262.66410000000002</c:v>
                </c:pt>
                <c:pt idx="5">
                  <c:v>321.10570000000001</c:v>
                </c:pt>
                <c:pt idx="6">
                  <c:v>713.5100999999999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Nivea</c:v>
                </c:pt>
                <c:pt idx="1">
                  <c:v>Isdin</c:v>
                </c:pt>
                <c:pt idx="2">
                  <c:v>Hawaiian Tropic</c:v>
                </c:pt>
                <c:pt idx="3">
                  <c:v>La Roche-Posay</c:v>
                </c:pt>
                <c:pt idx="4">
                  <c:v>Others Marca Unif.</c:v>
                </c:pt>
                <c:pt idx="5">
                  <c:v>Neutrogena</c:v>
                </c:pt>
                <c:pt idx="6">
                  <c:v>Photoderm</c:v>
                </c:pt>
                <c:pt idx="7">
                  <c:v>Heliocare</c:v>
                </c:pt>
              </c:strCache>
            </c:strRef>
          </c:cat>
          <c:val>
            <c:numRef>
              <c:f>Sheet1!$G$2:$G$9</c:f>
              <c:numCache>
                <c:formatCode>General</c:formatCode>
                <c:ptCount val="8"/>
                <c:pt idx="0">
                  <c:v>247.4402</c:v>
                </c:pt>
                <c:pt idx="1">
                  <c:v>620.6019</c:v>
                </c:pt>
                <c:pt idx="3">
                  <c:v>624.96720000000005</c:v>
                </c:pt>
                <c:pt idx="4">
                  <c:v>702.53269999999998</c:v>
                </c:pt>
                <c:pt idx="7">
                  <c:v>632.28200000000004</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sdin</c:v>
                </c:pt>
                <c:pt idx="1">
                  <c:v>La Roche-Posay</c:v>
                </c:pt>
                <c:pt idx="2">
                  <c:v>Nivea</c:v>
                </c:pt>
                <c:pt idx="3">
                  <c:v>Others Marca Unif.</c:v>
                </c:pt>
                <c:pt idx="4">
                  <c:v>Photoderm</c:v>
                </c:pt>
                <c:pt idx="5">
                  <c:v>Neutrogena</c:v>
                </c:pt>
              </c:strCache>
            </c:strRef>
          </c:cat>
          <c:val>
            <c:numRef>
              <c:f>Sheet1!$B$2:$B$7</c:f>
              <c:numCache>
                <c:formatCode>General</c:formatCode>
                <c:ptCount val="6"/>
                <c:pt idx="0">
                  <c:v>489.3652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La Roche-Posay</c:v>
                </c:pt>
                <c:pt idx="2">
                  <c:v>Nivea</c:v>
                </c:pt>
                <c:pt idx="3">
                  <c:v>Others Marca Unif.</c:v>
                </c:pt>
                <c:pt idx="4">
                  <c:v>Photoderm</c:v>
                </c:pt>
                <c:pt idx="5">
                  <c:v>Neutrogena</c:v>
                </c:pt>
              </c:strCache>
            </c:strRef>
          </c:cat>
          <c:val>
            <c:numRef>
              <c:f>Sheet1!$C$2:$C$7</c:f>
              <c:numCache>
                <c:formatCode>General</c:formatCode>
                <c:ptCount val="6"/>
                <c:pt idx="2">
                  <c:v>170.6684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La Roche-Posay</c:v>
                </c:pt>
                <c:pt idx="2">
                  <c:v>Nivea</c:v>
                </c:pt>
                <c:pt idx="3">
                  <c:v>Others Marca Unif.</c:v>
                </c:pt>
                <c:pt idx="4">
                  <c:v>Photoderm</c:v>
                </c:pt>
                <c:pt idx="5">
                  <c:v>Neutrogena</c:v>
                </c:pt>
              </c:strCache>
            </c:strRef>
          </c:cat>
          <c:val>
            <c:numRef>
              <c:f>Sheet1!$D$2:$D$7</c:f>
              <c:numCache>
                <c:formatCode>General</c:formatCode>
                <c:ptCount val="6"/>
                <c:pt idx="0">
                  <c:v>650.67669999999998</c:v>
                </c:pt>
                <c:pt idx="2">
                  <c:v>336.3758000000000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La Roche-Posay</c:v>
                </c:pt>
                <c:pt idx="2">
                  <c:v>Nivea</c:v>
                </c:pt>
                <c:pt idx="3">
                  <c:v>Others Marca Unif.</c:v>
                </c:pt>
                <c:pt idx="4">
                  <c:v>Photoderm</c:v>
                </c:pt>
                <c:pt idx="5">
                  <c:v>Neutrogena</c:v>
                </c:pt>
              </c:strCache>
            </c:strRef>
          </c:cat>
          <c:val>
            <c:numRef>
              <c:f>Sheet1!$E$2:$E$7</c:f>
              <c:numCache>
                <c:formatCode>General</c:formatCode>
                <c:ptCount val="6"/>
                <c:pt idx="0">
                  <c:v>643.7161999999999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La Roche-Posay</c:v>
                </c:pt>
                <c:pt idx="2">
                  <c:v>Nivea</c:v>
                </c:pt>
                <c:pt idx="3">
                  <c:v>Others Marca Unif.</c:v>
                </c:pt>
                <c:pt idx="4">
                  <c:v>Photoderm</c:v>
                </c:pt>
                <c:pt idx="5">
                  <c:v>Neutrogena</c:v>
                </c:pt>
              </c:strCache>
            </c:strRef>
          </c:cat>
          <c:val>
            <c:numRef>
              <c:f>Sheet1!$F$2:$F$7</c:f>
              <c:numCache>
                <c:formatCode>General</c:formatCode>
                <c:ptCount val="6"/>
                <c:pt idx="3">
                  <c:v>547.59569999999997</c:v>
                </c:pt>
                <c:pt idx="4">
                  <c:v>748.52300000000002</c:v>
                </c:pt>
                <c:pt idx="5">
                  <c:v>345.699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sdin</c:v>
                </c:pt>
                <c:pt idx="1">
                  <c:v>La Roche-Posay</c:v>
                </c:pt>
                <c:pt idx="2">
                  <c:v>Nivea</c:v>
                </c:pt>
                <c:pt idx="3">
                  <c:v>Others Marca Unif.</c:v>
                </c:pt>
                <c:pt idx="4">
                  <c:v>Photoderm</c:v>
                </c:pt>
                <c:pt idx="5">
                  <c:v>Neutrogena</c:v>
                </c:pt>
              </c:strCache>
            </c:strRef>
          </c:cat>
          <c:val>
            <c:numRef>
              <c:f>Sheet1!$G$2:$G$7</c:f>
              <c:numCache>
                <c:formatCode>General</c:formatCode>
                <c:ptCount val="6"/>
                <c:pt idx="0">
                  <c:v>630.09280000000001</c:v>
                </c:pt>
                <c:pt idx="1">
                  <c:v>633.25800000000004</c:v>
                </c:pt>
                <c:pt idx="2">
                  <c:v>300.22039999999998</c:v>
                </c:pt>
                <c:pt idx="3">
                  <c:v>954.8650000000000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75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sdin</c:v>
                </c:pt>
                <c:pt idx="1">
                  <c:v>La Roche-Posay</c:v>
                </c:pt>
                <c:pt idx="2">
                  <c:v>Nivea</c:v>
                </c:pt>
                <c:pt idx="3">
                  <c:v>Others Marca Unif.</c:v>
                </c:pt>
                <c:pt idx="4">
                  <c:v>Photoderm</c:v>
                </c:pt>
                <c:pt idx="5">
                  <c:v>Neutrogena</c:v>
                </c:pt>
              </c:strCache>
            </c:strRef>
          </c:cat>
          <c:val>
            <c:numRef>
              <c:f>Sheet1!$H$2:$H$7</c:f>
              <c:numCache>
                <c:formatCode>General</c:formatCode>
                <c:ptCount val="6"/>
                <c:pt idx="1">
                  <c:v>548.47860000000003</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Others Marca Unif.</c:v>
                </c:pt>
                <c:pt idx="2">
                  <c:v>Nuvel</c:v>
                </c:pt>
                <c:pt idx="3">
                  <c:v>Total Care De Mexico: All Others</c:v>
                </c:pt>
              </c:strCache>
            </c:strRef>
          </c:cat>
          <c:val>
            <c:numRef>
              <c:f>Sheet1!$B$2:$B$6</c:f>
              <c:numCache>
                <c:formatCode>General</c:formatCode>
                <c:ptCount val="5"/>
                <c:pt idx="1">
                  <c:v>101.952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Others Marca Unif.</c:v>
                </c:pt>
                <c:pt idx="2">
                  <c:v>Nuvel</c:v>
                </c:pt>
                <c:pt idx="3">
                  <c:v>Total Care De Mexico: All Others</c:v>
                </c:pt>
              </c:strCache>
            </c:strRef>
          </c:cat>
          <c:val>
            <c:numRef>
              <c:f>Sheet1!$C$2:$C$6</c:f>
              <c:numCache>
                <c:formatCode>General</c:formatCode>
                <c:ptCount val="5"/>
                <c:pt idx="2">
                  <c:v>96.87730000000000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Others Marca Unif.</c:v>
                </c:pt>
                <c:pt idx="2">
                  <c:v>Nuvel</c:v>
                </c:pt>
                <c:pt idx="3">
                  <c:v>Total Care De Mexico: All Others</c:v>
                </c:pt>
              </c:strCache>
            </c:strRef>
          </c:cat>
          <c:val>
            <c:numRef>
              <c:f>Sheet1!$D$2:$D$6</c:f>
              <c:numCache>
                <c:formatCode>General</c:formatCode>
                <c:ptCount val="5"/>
                <c:pt idx="0">
                  <c:v>169.53790000000001</c:v>
                </c:pt>
                <c:pt idx="1">
                  <c:v>135.8572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Others Marca Unif.</c:v>
                </c:pt>
                <c:pt idx="2">
                  <c:v>Nuvel</c:v>
                </c:pt>
                <c:pt idx="3">
                  <c:v>Total Care De Mexico: All Others</c:v>
                </c:pt>
              </c:strCache>
            </c:strRef>
          </c:cat>
          <c:val>
            <c:numRef>
              <c:f>Sheet1!$E$2:$E$8</c:f>
              <c:numCache>
                <c:formatCode>General</c:formatCode>
                <c:ptCount val="7"/>
                <c:pt idx="0">
                  <c:v>280.43060000000003</c:v>
                </c:pt>
                <c:pt idx="3">
                  <c:v>57.917099999999998</c:v>
                </c:pt>
                <c:pt idx="4">
                  <c:v>57.917099999999998</c:v>
                </c:pt>
                <c:pt idx="5">
                  <c:v>57.917099999999998</c:v>
                </c:pt>
                <c:pt idx="6">
                  <c:v>57.917099999999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Others Marca Unif.</c:v>
                </c:pt>
                <c:pt idx="2">
                  <c:v>Nuvel</c:v>
                </c:pt>
                <c:pt idx="3">
                  <c:v>Total Care De Mexico: All Others</c:v>
                </c:pt>
              </c:strCache>
            </c:strRef>
          </c:cat>
          <c:val>
            <c:numRef>
              <c:f>Sheet1!$F$2:$F$6</c:f>
              <c:numCache>
                <c:formatCode>General</c:formatCode>
                <c:ptCount val="5"/>
                <c:pt idx="1">
                  <c:v>154.5048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Others Marca Unif.</c:v>
                </c:pt>
                <c:pt idx="2">
                  <c:v>Nuvel</c:v>
                </c:pt>
                <c:pt idx="3">
                  <c:v>Total Care De Mexico: All Others</c:v>
                </c:pt>
              </c:strCache>
            </c:strRef>
          </c:cat>
          <c:val>
            <c:numRef>
              <c:f>Sheet1!$G$2:$G$6</c:f>
              <c:numCache>
                <c:formatCode>General</c:formatCode>
                <c:ptCount val="5"/>
                <c:pt idx="0">
                  <c:v>277.872599999999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Others Marca Unif.</c:v>
                </c:pt>
                <c:pt idx="2">
                  <c:v>Nuvel</c:v>
                </c:pt>
                <c:pt idx="3">
                  <c:v>Total Care De Mexico: All Others</c:v>
                </c:pt>
              </c:strCache>
            </c:strRef>
          </c:cat>
          <c:val>
            <c:numRef>
              <c:f>Sheet1!$H$2:$H$6</c:f>
              <c:numCache>
                <c:formatCode>General</c:formatCode>
                <c:ptCount val="5"/>
                <c:pt idx="0">
                  <c:v>231.357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Others Marca Unif.</c:v>
                </c:pt>
                <c:pt idx="2">
                  <c:v>Nuvel</c:v>
                </c:pt>
                <c:pt idx="3">
                  <c:v>Total Care De Mexico: All Others</c:v>
                </c:pt>
              </c:strCache>
            </c:strRef>
          </c:cat>
          <c:val>
            <c:numRef>
              <c:f>Sheet1!$I$2:$I$6</c:f>
              <c:numCache>
                <c:formatCode>General</c:formatCode>
                <c:ptCount val="5"/>
                <c:pt idx="1">
                  <c:v>97.3934</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B$2:$B$8</c:f>
              <c:numCache>
                <c:formatCode>General</c:formatCode>
                <c:ptCount val="7"/>
                <c:pt idx="1">
                  <c:v>182.76990000000001</c:v>
                </c:pt>
                <c:pt idx="5">
                  <c:v>74.3605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C$2:$C$8</c:f>
              <c:numCache>
                <c:formatCode>General</c:formatCode>
                <c:ptCount val="7"/>
                <c:pt idx="0">
                  <c:v>175.0946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D$2:$D$8</c:f>
              <c:numCache>
                <c:formatCode>General</c:formatCode>
                <c:ptCount val="7"/>
                <c:pt idx="0">
                  <c:v>253.575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E$2:$E$8</c:f>
              <c:numCache>
                <c:formatCode>General</c:formatCode>
                <c:ptCount val="7"/>
                <c:pt idx="1">
                  <c:v>268.1027000000000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F$2:$F$8</c:f>
              <c:numCache>
                <c:formatCode>General</c:formatCode>
                <c:ptCount val="7"/>
                <c:pt idx="0">
                  <c:v>262.10059999999999</c:v>
                </c:pt>
                <c:pt idx="3">
                  <c:v>304.4295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2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G$2:$G$8</c:f>
              <c:numCache>
                <c:formatCode>General</c:formatCode>
                <c:ptCount val="7"/>
                <c:pt idx="1">
                  <c:v>270.042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H$2:$H$8</c:f>
              <c:numCache>
                <c:formatCode>General</c:formatCode>
                <c:ptCount val="7"/>
                <c:pt idx="1">
                  <c:v>257.9377000000000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I$2:$I$8</c:f>
              <c:numCache>
                <c:formatCode>General</c:formatCode>
                <c:ptCount val="7"/>
                <c:pt idx="2">
                  <c:v>599.6027000000000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J$2:$J$8</c:f>
              <c:numCache>
                <c:formatCode>General</c:formatCode>
                <c:ptCount val="7"/>
                <c:pt idx="0">
                  <c:v>245.85820000000001</c:v>
                </c:pt>
                <c:pt idx="3">
                  <c:v>306.64359999999999</c:v>
                </c:pt>
                <c:pt idx="6">
                  <c:v>247.2052999999999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ML</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K$2:$K$8</c:f>
              <c:numCache>
                <c:formatCode>General</c:formatCode>
                <c:ptCount val="7"/>
                <c:pt idx="0">
                  <c:v>231.72989999999999</c:v>
                </c:pt>
                <c:pt idx="2">
                  <c:v>582.9502</c:v>
                </c:pt>
                <c:pt idx="4">
                  <c:v>566.5883</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9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L$2:$L$8</c:f>
              <c:numCache>
                <c:formatCode>General</c:formatCode>
                <c:ptCount val="7"/>
                <c:pt idx="1">
                  <c:v>96.260800000000003</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Others Marca Unif.</c:v>
                </c:pt>
                <c:pt idx="2">
                  <c:v>Nuvel</c:v>
                </c:pt>
                <c:pt idx="3">
                  <c:v>Inds.Lavin De Mexico: All Others</c:v>
                </c:pt>
              </c:strCache>
            </c:strRef>
          </c:cat>
          <c:val>
            <c:numRef>
              <c:f>Sheet1!$B$2:$B$5</c:f>
              <c:numCache>
                <c:formatCode>General</c:formatCode>
                <c:ptCount val="4"/>
                <c:pt idx="2">
                  <c:v>76.38460000000000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Others Marca Unif.</c:v>
                </c:pt>
                <c:pt idx="2">
                  <c:v>Nuvel</c:v>
                </c:pt>
                <c:pt idx="3">
                  <c:v>Inds.Lavin De Mexico: All Others</c:v>
                </c:pt>
              </c:strCache>
            </c:strRef>
          </c:cat>
          <c:val>
            <c:numRef>
              <c:f>Sheet1!$C$2:$C$5</c:f>
              <c:numCache>
                <c:formatCode>General</c:formatCode>
                <c:ptCount val="4"/>
                <c:pt idx="1">
                  <c:v>139.080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Others Marca Unif.</c:v>
                </c:pt>
                <c:pt idx="2">
                  <c:v>Nuvel</c:v>
                </c:pt>
                <c:pt idx="3">
                  <c:v>Inds.Lavin De Mexico: All Others</c:v>
                </c:pt>
              </c:strCache>
            </c:strRef>
          </c:cat>
          <c:val>
            <c:numRef>
              <c:f>Sheet1!$D$2:$D$5</c:f>
              <c:numCache>
                <c:formatCode>General</c:formatCode>
                <c:ptCount val="4"/>
                <c:pt idx="3">
                  <c:v>90.36329999999999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Others Marca Unif.</c:v>
                </c:pt>
                <c:pt idx="2">
                  <c:v>Nuvel</c:v>
                </c:pt>
                <c:pt idx="3">
                  <c:v>Inds.Lavin De Mexico: All Others</c:v>
                </c:pt>
              </c:strCache>
            </c:strRef>
          </c:cat>
          <c:val>
            <c:numRef>
              <c:f>Sheet1!$E$2:$E$5</c:f>
              <c:numCache>
                <c:formatCode>General</c:formatCode>
                <c:ptCount val="4"/>
                <c:pt idx="0">
                  <c:v>272.27429999999998</c:v>
                </c:pt>
                <c:pt idx="1">
                  <c:v>138.8642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Others Marca Unif.</c:v>
                </c:pt>
                <c:pt idx="2">
                  <c:v>Nuvel</c:v>
                </c:pt>
                <c:pt idx="3">
                  <c:v>Inds.Lavin De Mexico: All Others</c:v>
                </c:pt>
              </c:strCache>
            </c:strRef>
          </c:cat>
          <c:val>
            <c:numRef>
              <c:f>Sheet1!$F$2:$F$5</c:f>
              <c:numCache>
                <c:formatCode>General</c:formatCode>
                <c:ptCount val="4"/>
                <c:pt idx="0">
                  <c:v>263.8695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Others Marca Unif.</c:v>
                </c:pt>
                <c:pt idx="2">
                  <c:v>Nuvel</c:v>
                </c:pt>
                <c:pt idx="3">
                  <c:v>Inds.Lavin De Mexico: All Others</c:v>
                </c:pt>
              </c:strCache>
            </c:strRef>
          </c:cat>
          <c:val>
            <c:numRef>
              <c:f>Sheet1!$G$2:$G$5</c:f>
              <c:numCache>
                <c:formatCode>General</c:formatCode>
                <c:ptCount val="4"/>
                <c:pt idx="0">
                  <c:v>248.5054000000000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Others Marca Unif.</c:v>
                </c:pt>
                <c:pt idx="2">
                  <c:v>Nuvel</c:v>
                </c:pt>
                <c:pt idx="3">
                  <c:v>Inds.Lavin De Mexico: All Others</c:v>
                </c:pt>
              </c:strCache>
            </c:strRef>
          </c:cat>
          <c:val>
            <c:numRef>
              <c:f>Sheet1!$H$2:$H$5</c:f>
              <c:numCache>
                <c:formatCode>General</c:formatCode>
                <c:ptCount val="4"/>
                <c:pt idx="1">
                  <c:v>80.979200000000006</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Nivea</c:v>
                </c:pt>
                <c:pt idx="1">
                  <c:v>Others Marca Unif.</c:v>
                </c:pt>
              </c:strCache>
            </c:strRef>
          </c:cat>
          <c:val>
            <c:numRef>
              <c:f>Sheet1!$B$2:$B$3</c:f>
              <c:numCache>
                <c:formatCode>General</c:formatCode>
                <c:ptCount val="2"/>
                <c:pt idx="0">
                  <c:v>174.773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Nivea</c:v>
                </c:pt>
                <c:pt idx="1">
                  <c:v>Others Marca Unif.</c:v>
                </c:pt>
              </c:strCache>
            </c:strRef>
          </c:cat>
          <c:val>
            <c:numRef>
              <c:f>Sheet1!$C$2:$C$3</c:f>
              <c:numCache>
                <c:formatCode>General</c:formatCode>
                <c:ptCount val="2"/>
                <c:pt idx="0">
                  <c:v>277.154299999999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0ML</c:v>
                </c:pt>
              </c:strCache>
            </c:strRef>
          </c:tx>
          <c:spPr>
            <a:ln w="19050">
              <a:noFill/>
            </a:ln>
          </c:spPr>
          <c:marker>
            <c:symbol val="dash"/>
            <c:size val="20"/>
            <c:spPr>
              <a:solidFill>
                <a:srgbClr val="CC66FF"/>
              </a:solidFill>
              <a:ln w="9525">
                <a:noFill/>
              </a:ln>
              <a:effectLst/>
            </c:spPr>
          </c:marker>
          <c:cat>
            <c:strRef>
              <c:f>Sheet1!$A$2:$A$3</c:f>
              <c:strCache>
                <c:ptCount val="2"/>
                <c:pt idx="0">
                  <c:v>Nivea</c:v>
                </c:pt>
                <c:pt idx="1">
                  <c:v>Others Marca Unif.</c:v>
                </c:pt>
              </c:strCache>
            </c:strRef>
          </c:cat>
          <c:val>
            <c:numRef>
              <c:f>Sheet1!$D$2:$D$3</c:f>
              <c:numCache>
                <c:formatCode>General</c:formatCode>
                <c:ptCount val="2"/>
                <c:pt idx="1">
                  <c:v>1086.785100000000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E04612-E762-419F-88C7-D171CE25D5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14C5962-71FB-431A-844A-6B5F02781B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C57CB05-32CD-4A2B-A2F1-E03942674F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D3EC80B-A94D-4E33-AF5C-DEEFD05CD5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9F90FB0-DEBD-45F1-9294-B1BFCD1DAB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3943308-BE8A-4C1D-85DD-6C365AD478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4FB384A-C932-4293-B73F-6902D703DE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D5105BF-99BE-47AD-9BD9-181F34565F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61.5958</c:v>
                </c:pt>
                <c:pt idx="1">
                  <c:v>270.21260000000001</c:v>
                </c:pt>
              </c:numCache>
            </c:numRef>
          </c:xVal>
          <c:yVal>
            <c:numRef>
              <c:f>Sheet1!$B$2:$B$3</c:f>
              <c:numCache>
                <c:formatCode>General</c:formatCode>
                <c:ptCount val="2"/>
                <c:pt idx="0">
                  <c:v>1.006</c:v>
                </c:pt>
                <c:pt idx="1">
                  <c:v>0.85699999999999998</c:v>
                </c:pt>
              </c:numCache>
            </c:numRef>
          </c:yVal>
          <c:bubbleSize>
            <c:numRef>
              <c:f>Sheet1!$C$2:$C$3</c:f>
              <c:numCache>
                <c:formatCode>General</c:formatCode>
                <c:ptCount val="2"/>
                <c:pt idx="0">
                  <c:v>16500156</c:v>
                </c:pt>
                <c:pt idx="1">
                  <c:v>714442</c:v>
                </c:pt>
              </c:numCache>
            </c:numRef>
          </c:bubbleSize>
          <c:bubble3D val="0"/>
          <c:extLst>
            <c:ext xmlns:c15="http://schemas.microsoft.com/office/drawing/2012/chart" uri="{02D57815-91ED-43cb-92C2-25804820EDAC}">
              <c15:datalabelsRange>
                <c15:f>Sheet1!$E$2:$E$10</c15:f>
                <c15:dlblRangeCache>
                  <c:ptCount val="9"/>
                  <c:pt idx="0">
                    <c:v>Nivea</c:v>
                  </c:pt>
                  <c:pt idx="1">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4"/>
          <c:min val="20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sdin</c:v>
                </c:pt>
                <c:pt idx="1">
                  <c:v>Neutrogena</c:v>
                </c:pt>
                <c:pt idx="2">
                  <c:v>La Roche-Posay</c:v>
                </c:pt>
                <c:pt idx="3">
                  <c:v>Others Marca Unif.</c:v>
                </c:pt>
                <c:pt idx="4">
                  <c:v>Heliocare</c:v>
                </c:pt>
                <c:pt idx="5">
                  <c:v>Photoderm</c:v>
                </c:pt>
                <c:pt idx="6">
                  <c:v>Vichy</c:v>
                </c:pt>
              </c:strCache>
            </c:strRef>
          </c:cat>
          <c:val>
            <c:numRef>
              <c:f>Sheet1!$B$2:$B$8</c:f>
              <c:numCache>
                <c:formatCode>General</c:formatCode>
                <c:ptCount val="7"/>
                <c:pt idx="1">
                  <c:v>229.3591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sdin</c:v>
                </c:pt>
                <c:pt idx="1">
                  <c:v>Neutrogena</c:v>
                </c:pt>
                <c:pt idx="2">
                  <c:v>La Roche-Posay</c:v>
                </c:pt>
                <c:pt idx="3">
                  <c:v>Others Marca Unif.</c:v>
                </c:pt>
                <c:pt idx="4">
                  <c:v>Heliocare</c:v>
                </c:pt>
                <c:pt idx="5">
                  <c:v>Photoderm</c:v>
                </c:pt>
                <c:pt idx="6">
                  <c:v>Vichy</c:v>
                </c:pt>
              </c:strCache>
            </c:strRef>
          </c:cat>
          <c:val>
            <c:numRef>
              <c:f>Sheet1!$C$2:$C$8</c:f>
              <c:numCache>
                <c:formatCode>General</c:formatCode>
                <c:ptCount val="7"/>
                <c:pt idx="3">
                  <c:v>148.2572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sdin</c:v>
                </c:pt>
                <c:pt idx="1">
                  <c:v>Neutrogena</c:v>
                </c:pt>
                <c:pt idx="2">
                  <c:v>La Roche-Posay</c:v>
                </c:pt>
                <c:pt idx="3">
                  <c:v>Others Marca Unif.</c:v>
                </c:pt>
                <c:pt idx="4">
                  <c:v>Heliocare</c:v>
                </c:pt>
                <c:pt idx="5">
                  <c:v>Photoderm</c:v>
                </c:pt>
                <c:pt idx="6">
                  <c:v>Vichy</c:v>
                </c:pt>
              </c:strCache>
            </c:strRef>
          </c:cat>
          <c:val>
            <c:numRef>
              <c:f>Sheet1!$D$2:$D$8</c:f>
              <c:numCache>
                <c:formatCode>General</c:formatCode>
                <c:ptCount val="7"/>
                <c:pt idx="1">
                  <c:v>302.9132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sdin</c:v>
                </c:pt>
                <c:pt idx="1">
                  <c:v>Neutrogena</c:v>
                </c:pt>
                <c:pt idx="2">
                  <c:v>La Roche-Posay</c:v>
                </c:pt>
                <c:pt idx="3">
                  <c:v>Others Marca Unif.</c:v>
                </c:pt>
                <c:pt idx="4">
                  <c:v>Heliocare</c:v>
                </c:pt>
                <c:pt idx="5">
                  <c:v>Photoderm</c:v>
                </c:pt>
                <c:pt idx="6">
                  <c:v>Vichy</c:v>
                </c:pt>
              </c:strCache>
            </c:strRef>
          </c:cat>
          <c:val>
            <c:numRef>
              <c:f>Sheet1!$E$2:$E$8</c:f>
              <c:numCache>
                <c:formatCode>General</c:formatCode>
                <c:ptCount val="7"/>
                <c:pt idx="6">
                  <c:v>866.6966999999999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sdin</c:v>
                </c:pt>
                <c:pt idx="1">
                  <c:v>Neutrogena</c:v>
                </c:pt>
                <c:pt idx="2">
                  <c:v>La Roche-Posay</c:v>
                </c:pt>
                <c:pt idx="3">
                  <c:v>Others Marca Unif.</c:v>
                </c:pt>
                <c:pt idx="4">
                  <c:v>Heliocare</c:v>
                </c:pt>
                <c:pt idx="5">
                  <c:v>Photoderm</c:v>
                </c:pt>
                <c:pt idx="6">
                  <c:v>Vichy</c:v>
                </c:pt>
              </c:strCache>
            </c:strRef>
          </c:cat>
          <c:val>
            <c:numRef>
              <c:f>Sheet1!$F$2:$F$8</c:f>
              <c:numCache>
                <c:formatCode>General</c:formatCode>
                <c:ptCount val="7"/>
                <c:pt idx="1">
                  <c:v>320.7362</c:v>
                </c:pt>
                <c:pt idx="3">
                  <c:v>528.15530000000001</c:v>
                </c:pt>
                <c:pt idx="5">
                  <c:v>699.91459999999995</c:v>
                </c:pt>
                <c:pt idx="6">
                  <c:v>639.307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sdin</c:v>
                </c:pt>
                <c:pt idx="1">
                  <c:v>Neutrogena</c:v>
                </c:pt>
                <c:pt idx="2">
                  <c:v>La Roche-Posay</c:v>
                </c:pt>
                <c:pt idx="3">
                  <c:v>Others Marca Unif.</c:v>
                </c:pt>
                <c:pt idx="4">
                  <c:v>Heliocare</c:v>
                </c:pt>
                <c:pt idx="5">
                  <c:v>Photoderm</c:v>
                </c:pt>
                <c:pt idx="6">
                  <c:v>Vichy</c:v>
                </c:pt>
              </c:strCache>
            </c:strRef>
          </c:cat>
          <c:val>
            <c:numRef>
              <c:f>Sheet1!$G$2:$G$8</c:f>
              <c:numCache>
                <c:formatCode>General</c:formatCode>
                <c:ptCount val="7"/>
                <c:pt idx="0">
                  <c:v>616.96550000000002</c:v>
                </c:pt>
                <c:pt idx="2">
                  <c:v>649.2944</c:v>
                </c:pt>
                <c:pt idx="4">
                  <c:v>624.0619000000000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sdin</c:v>
                </c:pt>
                <c:pt idx="1">
                  <c:v>Neutrogena</c:v>
                </c:pt>
                <c:pt idx="2">
                  <c:v>La Roche-Posay</c:v>
                </c:pt>
                <c:pt idx="3">
                  <c:v>Others Marca Unif.</c:v>
                </c:pt>
                <c:pt idx="4">
                  <c:v>Heliocare</c:v>
                </c:pt>
                <c:pt idx="5">
                  <c:v>Photoderm</c:v>
                </c:pt>
                <c:pt idx="6">
                  <c:v>Vichy</c:v>
                </c:pt>
              </c:strCache>
            </c:strRef>
          </c:cat>
          <c:val>
            <c:numRef>
              <c:f>Sheet1!$H$2:$H$8</c:f>
              <c:numCache>
                <c:formatCode>General</c:formatCode>
                <c:ptCount val="7"/>
                <c:pt idx="3">
                  <c:v>133.6711</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cat>
            <c:strRef>
              <c:f>Sheet1!$A$2:$A$2</c:f>
              <c:strCache>
                <c:ptCount val="1"/>
                <c:pt idx="0">
                  <c:v>Photoderm</c:v>
                </c:pt>
              </c:strCache>
            </c:strRef>
          </c:cat>
          <c:val>
            <c:numRef>
              <c:f>Sheet1!$B$2:$B$2</c:f>
              <c:numCache>
                <c:formatCode>General</c:formatCode>
                <c:ptCount val="1"/>
                <c:pt idx="0">
                  <c:v>605.51239999999996</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Loreal Paris</c:v>
                </c:pt>
                <c:pt idx="1">
                  <c:v>Others Marca Unif.</c:v>
                </c:pt>
                <c:pt idx="2">
                  <c:v>La Roche-Posay</c:v>
                </c:pt>
                <c:pt idx="3">
                  <c:v>Photoderm</c:v>
                </c:pt>
                <c:pt idx="4">
                  <c:v>Vichy</c:v>
                </c:pt>
              </c:strCache>
            </c:strRef>
          </c:cat>
          <c:val>
            <c:numRef>
              <c:f>Sheet1!$B$2:$B$6</c:f>
              <c:numCache>
                <c:formatCode>General</c:formatCode>
                <c:ptCount val="5"/>
                <c:pt idx="1">
                  <c:v>671.9627000000000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oreal Paris</c:v>
                </c:pt>
                <c:pt idx="1">
                  <c:v>Others Marca Unif.</c:v>
                </c:pt>
                <c:pt idx="2">
                  <c:v>La Roche-Posay</c:v>
                </c:pt>
                <c:pt idx="3">
                  <c:v>Photoderm</c:v>
                </c:pt>
                <c:pt idx="4">
                  <c:v>Vichy</c:v>
                </c:pt>
              </c:strCache>
            </c:strRef>
          </c:cat>
          <c:val>
            <c:numRef>
              <c:f>Sheet1!$C$2:$C$6</c:f>
              <c:numCache>
                <c:formatCode>General</c:formatCode>
                <c:ptCount val="5"/>
                <c:pt idx="3">
                  <c:v>839.40419999999995</c:v>
                </c:pt>
                <c:pt idx="4">
                  <c:v>738.0715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oreal Paris</c:v>
                </c:pt>
                <c:pt idx="1">
                  <c:v>Others Marca Unif.</c:v>
                </c:pt>
                <c:pt idx="2">
                  <c:v>La Roche-Posay</c:v>
                </c:pt>
                <c:pt idx="3">
                  <c:v>Photoderm</c:v>
                </c:pt>
                <c:pt idx="4">
                  <c:v>Vichy</c:v>
                </c:pt>
              </c:strCache>
            </c:strRef>
          </c:cat>
          <c:val>
            <c:numRef>
              <c:f>Sheet1!$D$2:$D$6</c:f>
              <c:numCache>
                <c:formatCode>General</c:formatCode>
                <c:ptCount val="5"/>
                <c:pt idx="2">
                  <c:v>1132.6670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oreal Paris</c:v>
                </c:pt>
                <c:pt idx="1">
                  <c:v>Others Marca Unif.</c:v>
                </c:pt>
                <c:pt idx="2">
                  <c:v>La Roche-Posay</c:v>
                </c:pt>
                <c:pt idx="3">
                  <c:v>Photoderm</c:v>
                </c:pt>
                <c:pt idx="4">
                  <c:v>Vichy</c:v>
                </c:pt>
              </c:strCache>
            </c:strRef>
          </c:cat>
          <c:val>
            <c:numRef>
              <c:f>Sheet1!$E$2:$E$6</c:f>
              <c:numCache>
                <c:formatCode>General</c:formatCode>
                <c:ptCount val="5"/>
                <c:pt idx="0">
                  <c:v>242.5783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oreal Paris</c:v>
                </c:pt>
                <c:pt idx="1">
                  <c:v>Others Marca Unif.</c:v>
                </c:pt>
                <c:pt idx="2">
                  <c:v>La Roche-Posay</c:v>
                </c:pt>
                <c:pt idx="3">
                  <c:v>Photoderm</c:v>
                </c:pt>
                <c:pt idx="4">
                  <c:v>Vichy</c:v>
                </c:pt>
              </c:strCache>
            </c:strRef>
          </c:cat>
          <c:val>
            <c:numRef>
              <c:f>Sheet1!$F$2:$F$6</c:f>
              <c:numCache>
                <c:formatCode>General</c:formatCode>
                <c:ptCount val="5"/>
                <c:pt idx="1">
                  <c:v>614.62660000000005</c:v>
                </c:pt>
                <c:pt idx="2">
                  <c:v>626.85910000000001</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Others Marca Unif.</c:v>
                </c:pt>
                <c:pt idx="2">
                  <c:v>Nuvel</c:v>
                </c:pt>
                <c:pt idx="3">
                  <c:v>Inds.Lavin De Mexico: All Others</c:v>
                </c:pt>
              </c:strCache>
            </c:strRef>
          </c:cat>
          <c:val>
            <c:numRef>
              <c:f>Sheet1!$B$2:$B$5</c:f>
              <c:numCache>
                <c:formatCode>General</c:formatCode>
                <c:ptCount val="4"/>
                <c:pt idx="2">
                  <c:v>75.147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Others Marca Unif.</c:v>
                </c:pt>
                <c:pt idx="2">
                  <c:v>Nuvel</c:v>
                </c:pt>
                <c:pt idx="3">
                  <c:v>Inds.Lavin De Mexico: All Others</c:v>
                </c:pt>
              </c:strCache>
            </c:strRef>
          </c:cat>
          <c:val>
            <c:numRef>
              <c:f>Sheet1!$C$2:$C$5</c:f>
              <c:numCache>
                <c:formatCode>General</c:formatCode>
                <c:ptCount val="4"/>
                <c:pt idx="3">
                  <c:v>90.2584999999999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Others Marca Unif.</c:v>
                </c:pt>
                <c:pt idx="2">
                  <c:v>Nuvel</c:v>
                </c:pt>
                <c:pt idx="3">
                  <c:v>Inds.Lavin De Mexico: All Others</c:v>
                </c:pt>
              </c:strCache>
            </c:strRef>
          </c:cat>
          <c:val>
            <c:numRef>
              <c:f>Sheet1!$D$2:$D$5</c:f>
              <c:numCache>
                <c:formatCode>General</c:formatCode>
                <c:ptCount val="4"/>
                <c:pt idx="0">
                  <c:v>271.95260000000002</c:v>
                </c:pt>
                <c:pt idx="1">
                  <c:v>139.3215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Others Marca Unif.</c:v>
                </c:pt>
                <c:pt idx="2">
                  <c:v>Nuvel</c:v>
                </c:pt>
                <c:pt idx="3">
                  <c:v>Inds.Lavin De Mexico: All Others</c:v>
                </c:pt>
              </c:strCache>
            </c:strRef>
          </c:cat>
          <c:val>
            <c:numRef>
              <c:f>Sheet1!$E$2:$E$5</c:f>
              <c:numCache>
                <c:formatCode>General</c:formatCode>
                <c:ptCount val="4"/>
                <c:pt idx="0">
                  <c:v>262.754000000000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Others Marca Unif.</c:v>
                </c:pt>
                <c:pt idx="2">
                  <c:v>Nuvel</c:v>
                </c:pt>
                <c:pt idx="3">
                  <c:v>Inds.Lavin De Mexico: All Others</c:v>
                </c:pt>
              </c:strCache>
            </c:strRef>
          </c:cat>
          <c:val>
            <c:numRef>
              <c:f>Sheet1!$F$2:$F$5</c:f>
              <c:numCache>
                <c:formatCode>General</c:formatCode>
                <c:ptCount val="4"/>
                <c:pt idx="0">
                  <c:v>247.44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9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Others Marca Unif.</c:v>
                </c:pt>
                <c:pt idx="2">
                  <c:v>Nuvel</c:v>
                </c:pt>
                <c:pt idx="3">
                  <c:v>Inds.Lavin De Mexico: All Others</c:v>
                </c:pt>
              </c:strCache>
            </c:strRef>
          </c:cat>
          <c:val>
            <c:numRef>
              <c:f>Sheet1!$G$2:$G$5</c:f>
              <c:numCache>
                <c:formatCode>General</c:formatCode>
                <c:ptCount val="4"/>
                <c:pt idx="1">
                  <c:v>80.575599999999994</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Nivea</c:v>
                </c:pt>
                <c:pt idx="1">
                  <c:v>Others Marca Unif.</c:v>
                </c:pt>
              </c:strCache>
            </c:strRef>
          </c:cat>
          <c:val>
            <c:numRef>
              <c:f>Sheet1!$B$2:$B$3</c:f>
              <c:numCache>
                <c:formatCode>General</c:formatCode>
                <c:ptCount val="2"/>
                <c:pt idx="0">
                  <c:v>173.0927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Nivea</c:v>
                </c:pt>
                <c:pt idx="1">
                  <c:v>Others Marca Unif.</c:v>
                </c:pt>
              </c:strCache>
            </c:strRef>
          </c:cat>
          <c:val>
            <c:numRef>
              <c:f>Sheet1!$C$2:$C$3</c:f>
              <c:numCache>
                <c:formatCode>General</c:formatCode>
                <c:ptCount val="2"/>
                <c:pt idx="0">
                  <c:v>278.270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0ML</c:v>
                </c:pt>
              </c:strCache>
            </c:strRef>
          </c:tx>
          <c:spPr>
            <a:ln w="19050">
              <a:noFill/>
            </a:ln>
          </c:spPr>
          <c:marker>
            <c:symbol val="dash"/>
            <c:size val="20"/>
            <c:spPr>
              <a:solidFill>
                <a:srgbClr val="CC66FF"/>
              </a:solidFill>
              <a:ln w="9525">
                <a:noFill/>
              </a:ln>
              <a:effectLst/>
            </c:spPr>
          </c:marker>
          <c:cat>
            <c:strRef>
              <c:f>Sheet1!$A$2:$A$3</c:f>
              <c:strCache>
                <c:ptCount val="2"/>
                <c:pt idx="0">
                  <c:v>Nivea</c:v>
                </c:pt>
                <c:pt idx="1">
                  <c:v>Others Marca Unif.</c:v>
                </c:pt>
              </c:strCache>
            </c:strRef>
          </c:cat>
          <c:val>
            <c:numRef>
              <c:f>Sheet1!$D$2:$D$3</c:f>
              <c:numCache>
                <c:formatCode>General</c:formatCode>
                <c:ptCount val="2"/>
                <c:pt idx="1">
                  <c:v>1120.6132</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sdin</c:v>
                </c:pt>
                <c:pt idx="1">
                  <c:v>Neutrogena</c:v>
                </c:pt>
                <c:pt idx="2">
                  <c:v>La Roche-Posay</c:v>
                </c:pt>
                <c:pt idx="3">
                  <c:v>Others Marca Unif.</c:v>
                </c:pt>
                <c:pt idx="4">
                  <c:v>Vichy</c:v>
                </c:pt>
                <c:pt idx="5">
                  <c:v>Photoderm</c:v>
                </c:pt>
              </c:strCache>
            </c:strRef>
          </c:cat>
          <c:val>
            <c:numRef>
              <c:f>Sheet1!$B$2:$B$7</c:f>
              <c:numCache>
                <c:formatCode>General</c:formatCode>
                <c:ptCount val="6"/>
                <c:pt idx="1">
                  <c:v>229.7916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Neutrogena</c:v>
                </c:pt>
                <c:pt idx="2">
                  <c:v>La Roche-Posay</c:v>
                </c:pt>
                <c:pt idx="3">
                  <c:v>Others Marca Unif.</c:v>
                </c:pt>
                <c:pt idx="4">
                  <c:v>Vichy</c:v>
                </c:pt>
                <c:pt idx="5">
                  <c:v>Photoderm</c:v>
                </c:pt>
              </c:strCache>
            </c:strRef>
          </c:cat>
          <c:val>
            <c:numRef>
              <c:f>Sheet1!$C$2:$C$7</c:f>
              <c:numCache>
                <c:formatCode>General</c:formatCode>
                <c:ptCount val="6"/>
                <c:pt idx="1">
                  <c:v>303.08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Neutrogena</c:v>
                </c:pt>
                <c:pt idx="2">
                  <c:v>La Roche-Posay</c:v>
                </c:pt>
                <c:pt idx="3">
                  <c:v>Others Marca Unif.</c:v>
                </c:pt>
                <c:pt idx="4">
                  <c:v>Vichy</c:v>
                </c:pt>
                <c:pt idx="5">
                  <c:v>Photoderm</c:v>
                </c:pt>
              </c:strCache>
            </c:strRef>
          </c:cat>
          <c:val>
            <c:numRef>
              <c:f>Sheet1!$D$2:$D$7</c:f>
              <c:numCache>
                <c:formatCode>General</c:formatCode>
                <c:ptCount val="6"/>
                <c:pt idx="4">
                  <c:v>878.9049999999999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Neutrogena</c:v>
                </c:pt>
                <c:pt idx="2">
                  <c:v>La Roche-Posay</c:v>
                </c:pt>
                <c:pt idx="3">
                  <c:v>Others Marca Unif.</c:v>
                </c:pt>
                <c:pt idx="4">
                  <c:v>Vichy</c:v>
                </c:pt>
                <c:pt idx="5">
                  <c:v>Photoderm</c:v>
                </c:pt>
              </c:strCache>
            </c:strRef>
          </c:cat>
          <c:val>
            <c:numRef>
              <c:f>Sheet1!$E$2:$E$7</c:f>
              <c:numCache>
                <c:formatCode>General</c:formatCode>
                <c:ptCount val="6"/>
                <c:pt idx="1">
                  <c:v>321.10570000000001</c:v>
                </c:pt>
                <c:pt idx="3">
                  <c:v>534.97919999999999</c:v>
                </c:pt>
                <c:pt idx="4">
                  <c:v>657.63419999999996</c:v>
                </c:pt>
                <c:pt idx="5">
                  <c:v>725.8997000000000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Neutrogena</c:v>
                </c:pt>
                <c:pt idx="2">
                  <c:v>La Roche-Posay</c:v>
                </c:pt>
                <c:pt idx="3">
                  <c:v>Others Marca Unif.</c:v>
                </c:pt>
                <c:pt idx="4">
                  <c:v>Vichy</c:v>
                </c:pt>
                <c:pt idx="5">
                  <c:v>Photoderm</c:v>
                </c:pt>
              </c:strCache>
            </c:strRef>
          </c:cat>
          <c:val>
            <c:numRef>
              <c:f>Sheet1!$F$2:$F$7</c:f>
              <c:numCache>
                <c:formatCode>General</c:formatCode>
                <c:ptCount val="6"/>
                <c:pt idx="0">
                  <c:v>618.10490000000004</c:v>
                </c:pt>
                <c:pt idx="2">
                  <c:v>665.40340000000003</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cat>
            <c:strRef>
              <c:f>Sheet1!$A$2:$A$2</c:f>
              <c:strCache>
                <c:ptCount val="1"/>
                <c:pt idx="0">
                  <c:v>Photoderm</c:v>
                </c:pt>
              </c:strCache>
            </c:strRef>
          </c:cat>
          <c:val>
            <c:numRef>
              <c:f>Sheet1!$B$2:$B$2</c:f>
              <c:numCache>
                <c:formatCode>General</c:formatCode>
                <c:ptCount val="1"/>
                <c:pt idx="0">
                  <c:v>623.85310000000004</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Loreal Paris</c:v>
                </c:pt>
                <c:pt idx="1">
                  <c:v>Others Marca Unif.</c:v>
                </c:pt>
                <c:pt idx="2">
                  <c:v>La Roche-Posay</c:v>
                </c:pt>
                <c:pt idx="3">
                  <c:v>Photoderm</c:v>
                </c:pt>
                <c:pt idx="4">
                  <c:v>Vichy</c:v>
                </c:pt>
              </c:strCache>
            </c:strRef>
          </c:cat>
          <c:val>
            <c:numRef>
              <c:f>Sheet1!$B$2:$B$6</c:f>
              <c:numCache>
                <c:formatCode>General</c:formatCode>
                <c:ptCount val="5"/>
                <c:pt idx="1">
                  <c:v>672.8541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oreal Paris</c:v>
                </c:pt>
                <c:pt idx="1">
                  <c:v>Others Marca Unif.</c:v>
                </c:pt>
                <c:pt idx="2">
                  <c:v>La Roche-Posay</c:v>
                </c:pt>
                <c:pt idx="3">
                  <c:v>Photoderm</c:v>
                </c:pt>
                <c:pt idx="4">
                  <c:v>Vichy</c:v>
                </c:pt>
              </c:strCache>
            </c:strRef>
          </c:cat>
          <c:val>
            <c:numRef>
              <c:f>Sheet1!$C$2:$C$6</c:f>
              <c:numCache>
                <c:formatCode>General</c:formatCode>
                <c:ptCount val="5"/>
                <c:pt idx="3">
                  <c:v>888.16780000000006</c:v>
                </c:pt>
                <c:pt idx="4">
                  <c:v>781.3863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oreal Paris</c:v>
                </c:pt>
                <c:pt idx="1">
                  <c:v>Others Marca Unif.</c:v>
                </c:pt>
                <c:pt idx="2">
                  <c:v>La Roche-Posay</c:v>
                </c:pt>
                <c:pt idx="3">
                  <c:v>Photoderm</c:v>
                </c:pt>
                <c:pt idx="4">
                  <c:v>Vichy</c:v>
                </c:pt>
              </c:strCache>
            </c:strRef>
          </c:cat>
          <c:val>
            <c:numRef>
              <c:f>Sheet1!$D$2:$D$6</c:f>
              <c:numCache>
                <c:formatCode>General</c:formatCode>
                <c:ptCount val="5"/>
                <c:pt idx="2">
                  <c:v>1207.275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oreal Paris</c:v>
                </c:pt>
                <c:pt idx="1">
                  <c:v>Others Marca Unif.</c:v>
                </c:pt>
                <c:pt idx="2">
                  <c:v>La Roche-Posay</c:v>
                </c:pt>
                <c:pt idx="3">
                  <c:v>Photoderm</c:v>
                </c:pt>
                <c:pt idx="4">
                  <c:v>Vichy</c:v>
                </c:pt>
              </c:strCache>
            </c:strRef>
          </c:cat>
          <c:val>
            <c:numRef>
              <c:f>Sheet1!$E$2:$E$6</c:f>
              <c:numCache>
                <c:formatCode>General</c:formatCode>
                <c:ptCount val="5"/>
                <c:pt idx="0">
                  <c:v>243.0304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oreal Paris</c:v>
                </c:pt>
                <c:pt idx="1">
                  <c:v>Others Marca Unif.</c:v>
                </c:pt>
                <c:pt idx="2">
                  <c:v>La Roche-Posay</c:v>
                </c:pt>
                <c:pt idx="3">
                  <c:v>Photoderm</c:v>
                </c:pt>
                <c:pt idx="4">
                  <c:v>Vichy</c:v>
                </c:pt>
              </c:strCache>
            </c:strRef>
          </c:cat>
          <c:val>
            <c:numRef>
              <c:f>Sheet1!$F$2:$F$6</c:f>
              <c:numCache>
                <c:formatCode>General</c:formatCode>
                <c:ptCount val="5"/>
                <c:pt idx="1">
                  <c:v>654.73270000000002</c:v>
                </c:pt>
                <c:pt idx="2">
                  <c:v>679.47289999999998</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Others Marca Unif.</c:v>
                </c:pt>
                <c:pt idx="2">
                  <c:v>Nuvel</c:v>
                </c:pt>
              </c:strCache>
            </c:strRef>
          </c:cat>
          <c:val>
            <c:numRef>
              <c:f>Sheet1!$B$2:$B$4</c:f>
              <c:numCache>
                <c:formatCode>General</c:formatCode>
                <c:ptCount val="3"/>
                <c:pt idx="2">
                  <c:v>79.3439000000000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Others Marca Unif.</c:v>
                </c:pt>
                <c:pt idx="2">
                  <c:v>Nuvel</c:v>
                </c:pt>
              </c:strCache>
            </c:strRef>
          </c:cat>
          <c:val>
            <c:numRef>
              <c:f>Sheet1!$C$2:$C$4</c:f>
              <c:numCache>
                <c:formatCode>General</c:formatCode>
                <c:ptCount val="3"/>
                <c:pt idx="1">
                  <c:v>138.5233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Others Marca Unif.</c:v>
                </c:pt>
                <c:pt idx="2">
                  <c:v>Nuvel</c:v>
                </c:pt>
              </c:strCache>
            </c:strRef>
          </c:cat>
          <c:val>
            <c:numRef>
              <c:f>Sheet1!$D$2:$D$4</c:f>
              <c:numCache>
                <c:formatCode>General</c:formatCode>
                <c:ptCount val="3"/>
                <c:pt idx="0">
                  <c:v>331.98680000000002</c:v>
                </c:pt>
                <c:pt idx="1">
                  <c:v>209.2556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9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Others Marca Unif.</c:v>
                </c:pt>
                <c:pt idx="2">
                  <c:v>Nuvel</c:v>
                </c:pt>
              </c:strCache>
            </c:strRef>
          </c:cat>
          <c:val>
            <c:numRef>
              <c:f>Sheet1!$E$2:$E$4</c:f>
              <c:numCache>
                <c:formatCode>General</c:formatCode>
                <c:ptCount val="3"/>
                <c:pt idx="1">
                  <c:v>102.2907</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La Roche-Posay</c:v>
                </c:pt>
                <c:pt idx="1">
                  <c:v>Neutrogena</c:v>
                </c:pt>
                <c:pt idx="2">
                  <c:v>Photoderm</c:v>
                </c:pt>
                <c:pt idx="3">
                  <c:v>Vichy</c:v>
                </c:pt>
                <c:pt idx="4">
                  <c:v>Others Marca Unif.</c:v>
                </c:pt>
              </c:strCache>
            </c:strRef>
          </c:cat>
          <c:val>
            <c:numRef>
              <c:f>Sheet1!$B$2:$B$6</c:f>
              <c:numCache>
                <c:formatCode>General</c:formatCode>
                <c:ptCount val="5"/>
                <c:pt idx="1">
                  <c:v>300.592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Roche-Posay</c:v>
                </c:pt>
                <c:pt idx="1">
                  <c:v>Neutrogena</c:v>
                </c:pt>
                <c:pt idx="2">
                  <c:v>Photoderm</c:v>
                </c:pt>
                <c:pt idx="3">
                  <c:v>Vichy</c:v>
                </c:pt>
                <c:pt idx="4">
                  <c:v>Others Marca Unif.</c:v>
                </c:pt>
              </c:strCache>
            </c:strRef>
          </c:cat>
          <c:val>
            <c:numRef>
              <c:f>Sheet1!$C$2:$C$6</c:f>
              <c:numCache>
                <c:formatCode>General</c:formatCode>
                <c:ptCount val="5"/>
                <c:pt idx="3">
                  <c:v>904.6586999999999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Roche-Posay</c:v>
                </c:pt>
                <c:pt idx="1">
                  <c:v>Neutrogena</c:v>
                </c:pt>
                <c:pt idx="2">
                  <c:v>Photoderm</c:v>
                </c:pt>
                <c:pt idx="3">
                  <c:v>Vichy</c:v>
                </c:pt>
                <c:pt idx="4">
                  <c:v>Others Marca Unif.</c:v>
                </c:pt>
              </c:strCache>
            </c:strRef>
          </c:cat>
          <c:val>
            <c:numRef>
              <c:f>Sheet1!$D$2:$D$6</c:f>
              <c:numCache>
                <c:formatCode>General</c:formatCode>
                <c:ptCount val="5"/>
                <c:pt idx="1">
                  <c:v>345.6995</c:v>
                </c:pt>
                <c:pt idx="2">
                  <c:v>741.02650000000006</c:v>
                </c:pt>
                <c:pt idx="3">
                  <c:v>672.94</c:v>
                </c:pt>
                <c:pt idx="4">
                  <c:v>547.8813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La Roche-Posay</c:v>
                </c:pt>
                <c:pt idx="1">
                  <c:v>Neutrogena</c:v>
                </c:pt>
                <c:pt idx="2">
                  <c:v>Photoderm</c:v>
                </c:pt>
                <c:pt idx="3">
                  <c:v>Vichy</c:v>
                </c:pt>
                <c:pt idx="4">
                  <c:v>Others Marca Unif.</c:v>
                </c:pt>
              </c:strCache>
            </c:strRef>
          </c:cat>
          <c:val>
            <c:numRef>
              <c:f>Sheet1!$E$2:$E$6</c:f>
              <c:numCache>
                <c:formatCode>General</c:formatCode>
                <c:ptCount val="5"/>
                <c:pt idx="0">
                  <c:v>673.21190000000001</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84989D-BF02-4017-96B3-6B2153015E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35F70946-97DA-49EB-821D-FE4F0F8979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68EC9B6C-84CC-4F97-9570-F32CC71D54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92C5787-4C50-48E5-B953-6C3295269C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6CC2890-A40B-4DBD-BB5A-599FA3D2E4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1B14617-1DDB-4963-8096-95306E646D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84018DE-3944-4ABE-A1DC-AB3732578C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0B1B63F-4C0B-4866-B1A5-5FC049EE27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74.8569</c:v>
                </c:pt>
              </c:numCache>
            </c:numRef>
          </c:xVal>
          <c:yVal>
            <c:numRef>
              <c:f>Sheet1!$B$2:$B$2</c:f>
              <c:numCache>
                <c:formatCode>General</c:formatCode>
                <c:ptCount val="1"/>
                <c:pt idx="0">
                  <c:v>0.997</c:v>
                </c:pt>
              </c:numCache>
            </c:numRef>
          </c:yVal>
          <c:bubbleSize>
            <c:numRef>
              <c:f>Sheet1!$C$2:$C$2</c:f>
              <c:numCache>
                <c:formatCode>General</c:formatCode>
                <c:ptCount val="1"/>
                <c:pt idx="0">
                  <c:v>129845148</c:v>
                </c:pt>
              </c:numCache>
            </c:numRef>
          </c:bubbleSize>
          <c:bubble3D val="0"/>
          <c:extLst>
            <c:ext xmlns:c15="http://schemas.microsoft.com/office/drawing/2012/chart" uri="{02D57815-91ED-43cb-92C2-25804820EDAC}">
              <c15:datalabelsRange>
                <c15:f>Sheet1!$E$2:$E$10</c15:f>
                <c15:dlblRangeCache>
                  <c:ptCount val="9"/>
                  <c:pt idx="0">
                    <c:v>Nive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30"/>
          <c:min val="2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cat>
            <c:strRef>
              <c:f>Sheet1!$A$2:$A$2</c:f>
              <c:strCache>
                <c:ptCount val="1"/>
                <c:pt idx="0">
                  <c:v>Photoderm</c:v>
                </c:pt>
              </c:strCache>
            </c:strRef>
          </c:cat>
          <c:val>
            <c:numRef>
              <c:f>Sheet1!$B$2:$B$2</c:f>
              <c:numCache>
                <c:formatCode>General</c:formatCode>
                <c:ptCount val="1"/>
                <c:pt idx="0">
                  <c:v>703.94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Others Marca Unif.</c:v>
                </c:pt>
                <c:pt idx="1">
                  <c:v>La Roche-Posay</c:v>
                </c:pt>
                <c:pt idx="2">
                  <c:v>Loreal Paris</c:v>
                </c:pt>
                <c:pt idx="3">
                  <c:v>Photoderm</c:v>
                </c:pt>
                <c:pt idx="4">
                  <c:v>Vichy</c:v>
                </c:pt>
              </c:strCache>
            </c:strRef>
          </c:cat>
          <c:val>
            <c:numRef>
              <c:f>Sheet1!$B$2:$B$6</c:f>
              <c:numCache>
                <c:formatCode>General</c:formatCode>
                <c:ptCount val="5"/>
                <c:pt idx="0">
                  <c:v>678.8953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Others Marca Unif.</c:v>
                </c:pt>
                <c:pt idx="1">
                  <c:v>La Roche-Posay</c:v>
                </c:pt>
                <c:pt idx="2">
                  <c:v>Loreal Paris</c:v>
                </c:pt>
                <c:pt idx="3">
                  <c:v>Photoderm</c:v>
                </c:pt>
                <c:pt idx="4">
                  <c:v>Vichy</c:v>
                </c:pt>
              </c:strCache>
            </c:strRef>
          </c:cat>
          <c:val>
            <c:numRef>
              <c:f>Sheet1!$C$2:$C$6</c:f>
              <c:numCache>
                <c:formatCode>General</c:formatCode>
                <c:ptCount val="5"/>
                <c:pt idx="3">
                  <c:v>885.49980000000005</c:v>
                </c:pt>
                <c:pt idx="4">
                  <c:v>804.9435999999999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Others Marca Unif.</c:v>
                </c:pt>
                <c:pt idx="1">
                  <c:v>La Roche-Posay</c:v>
                </c:pt>
                <c:pt idx="2">
                  <c:v>Loreal Paris</c:v>
                </c:pt>
                <c:pt idx="3">
                  <c:v>Photoderm</c:v>
                </c:pt>
                <c:pt idx="4">
                  <c:v>Vichy</c:v>
                </c:pt>
              </c:strCache>
            </c:strRef>
          </c:cat>
          <c:val>
            <c:numRef>
              <c:f>Sheet1!$D$2:$D$6</c:f>
              <c:numCache>
                <c:formatCode>General</c:formatCode>
                <c:ptCount val="5"/>
                <c:pt idx="1">
                  <c:v>1301.047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Others Marca Unif.</c:v>
                </c:pt>
                <c:pt idx="1">
                  <c:v>La Roche-Posay</c:v>
                </c:pt>
                <c:pt idx="2">
                  <c:v>Loreal Paris</c:v>
                </c:pt>
                <c:pt idx="3">
                  <c:v>Photoderm</c:v>
                </c:pt>
                <c:pt idx="4">
                  <c:v>Vichy</c:v>
                </c:pt>
              </c:strCache>
            </c:strRef>
          </c:cat>
          <c:val>
            <c:numRef>
              <c:f>Sheet1!$E$2:$E$6</c:f>
              <c:numCache>
                <c:formatCode>General</c:formatCode>
                <c:ptCount val="5"/>
                <c:pt idx="2">
                  <c:v>231.506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Others Marca Unif.</c:v>
                </c:pt>
                <c:pt idx="1">
                  <c:v>La Roche-Posay</c:v>
                </c:pt>
                <c:pt idx="2">
                  <c:v>Loreal Paris</c:v>
                </c:pt>
                <c:pt idx="3">
                  <c:v>Photoderm</c:v>
                </c:pt>
                <c:pt idx="4">
                  <c:v>Vichy</c:v>
                </c:pt>
              </c:strCache>
            </c:strRef>
          </c:cat>
          <c:val>
            <c:numRef>
              <c:f>Sheet1!$F$2:$F$6</c:f>
              <c:numCache>
                <c:formatCode>General</c:formatCode>
                <c:ptCount val="5"/>
                <c:pt idx="0">
                  <c:v>652.60040000000004</c:v>
                </c:pt>
                <c:pt idx="1">
                  <c:v>709.81359999999995</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Others Marca Unif.</c:v>
                </c:pt>
                <c:pt idx="1">
                  <c:v>Total Care De Mexico: All Others</c:v>
                </c:pt>
              </c:strCache>
            </c:strRef>
          </c:cat>
          <c:val>
            <c:numRef>
              <c:f>Sheet1!$B$2:$B$4</c:f>
              <c:numCache>
                <c:formatCode>General</c:formatCode>
                <c:ptCount val="3"/>
                <c:pt idx="0">
                  <c:v>101.952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Others Marca Unif.</c:v>
                </c:pt>
                <c:pt idx="1">
                  <c:v>Total Care De Mexico: All Others</c:v>
                </c:pt>
              </c:strCache>
            </c:strRef>
          </c:cat>
          <c:val>
            <c:numRef>
              <c:f>Sheet1!$C$2:$C$4</c:f>
              <c:numCache>
                <c:formatCode>General</c:formatCode>
                <c:ptCount val="3"/>
                <c:pt idx="0">
                  <c:v>130.8317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Others Marca Unif.</c:v>
                </c:pt>
                <c:pt idx="1">
                  <c:v>Total Care De Mexico: All Others</c:v>
                </c:pt>
              </c:strCache>
            </c:strRef>
          </c:cat>
          <c:val>
            <c:numRef>
              <c:f>Sheet1!$D$2:$D$6</c:f>
              <c:numCache>
                <c:formatCode>General</c:formatCode>
                <c:ptCount val="5"/>
                <c:pt idx="1">
                  <c:v>57.917099999999998</c:v>
                </c:pt>
                <c:pt idx="2">
                  <c:v>57.917099999999998</c:v>
                </c:pt>
                <c:pt idx="3">
                  <c:v>57.917099999999998</c:v>
                </c:pt>
                <c:pt idx="4">
                  <c:v>57.91709999999999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Others Marca Unif.</c:v>
                </c:pt>
                <c:pt idx="1">
                  <c:v>Total Care De Mexico: All Others</c:v>
                </c:pt>
              </c:strCache>
            </c:strRef>
          </c:cat>
          <c:val>
            <c:numRef>
              <c:f>Sheet1!$E$2:$E$4</c:f>
              <c:numCache>
                <c:formatCode>General</c:formatCode>
                <c:ptCount val="3"/>
                <c:pt idx="0">
                  <c:v>93.10240000000000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Others Marca Unif.</c:v>
                </c:pt>
                <c:pt idx="1">
                  <c:v>Total Care De Mexico: All Others</c:v>
                </c:pt>
              </c:strCache>
            </c:strRef>
          </c:cat>
          <c:val>
            <c:numRef>
              <c:f>Sheet1!$F$2:$F$4</c:f>
              <c:numCache>
                <c:formatCode>General</c:formatCode>
                <c:ptCount val="3"/>
                <c:pt idx="0">
                  <c:v>40.714799999999997</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Nuvel</c:v>
                </c:pt>
                <c:pt idx="2">
                  <c:v>Others Marca Unif.</c:v>
                </c:pt>
                <c:pt idx="3">
                  <c:v>Inds.Lavin De Mexico: All Others</c:v>
                </c:pt>
              </c:strCache>
            </c:strRef>
          </c:cat>
          <c:val>
            <c:numRef>
              <c:f>Sheet1!$B$2:$B$5</c:f>
              <c:numCache>
                <c:formatCode>General</c:formatCode>
                <c:ptCount val="4"/>
                <c:pt idx="1">
                  <c:v>74.3605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Nuvel</c:v>
                </c:pt>
                <c:pt idx="2">
                  <c:v>Others Marca Unif.</c:v>
                </c:pt>
                <c:pt idx="3">
                  <c:v>Inds.Lavin De Mexico: All Others</c:v>
                </c:pt>
              </c:strCache>
            </c:strRef>
          </c:cat>
          <c:val>
            <c:numRef>
              <c:f>Sheet1!$C$2:$C$5</c:f>
              <c:numCache>
                <c:formatCode>General</c:formatCode>
                <c:ptCount val="4"/>
                <c:pt idx="3">
                  <c:v>90.227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Nuvel</c:v>
                </c:pt>
                <c:pt idx="2">
                  <c:v>Others Marca Unif.</c:v>
                </c:pt>
                <c:pt idx="3">
                  <c:v>Inds.Lavin De Mexico: All Others</c:v>
                </c:pt>
              </c:strCache>
            </c:strRef>
          </c:cat>
          <c:val>
            <c:numRef>
              <c:f>Sheet1!$D$2:$D$5</c:f>
              <c:numCache>
                <c:formatCode>General</c:formatCode>
                <c:ptCount val="4"/>
                <c:pt idx="0">
                  <c:v>259.68669999999997</c:v>
                </c:pt>
                <c:pt idx="2">
                  <c:v>103.721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Nuvel</c:v>
                </c:pt>
                <c:pt idx="2">
                  <c:v>Others Marca Unif.</c:v>
                </c:pt>
                <c:pt idx="3">
                  <c:v>Inds.Lavin De Mexico: All Others</c:v>
                </c:pt>
              </c:strCache>
            </c:strRef>
          </c:cat>
          <c:val>
            <c:numRef>
              <c:f>Sheet1!$E$2:$E$5</c:f>
              <c:numCache>
                <c:formatCode>General</c:formatCode>
                <c:ptCount val="4"/>
                <c:pt idx="0">
                  <c:v>247.3411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Nuvel</c:v>
                </c:pt>
                <c:pt idx="2">
                  <c:v>Others Marca Unif.</c:v>
                </c:pt>
                <c:pt idx="3">
                  <c:v>Inds.Lavin De Mexico: All Others</c:v>
                </c:pt>
              </c:strCache>
            </c:strRef>
          </c:cat>
          <c:val>
            <c:numRef>
              <c:f>Sheet1!$F$2:$F$5</c:f>
              <c:numCache>
                <c:formatCode>General</c:formatCode>
                <c:ptCount val="4"/>
                <c:pt idx="0">
                  <c:v>231.72989999999999</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cat>
            <c:strRef>
              <c:f>Sheet1!$A$2:$A$2</c:f>
              <c:strCache>
                <c:ptCount val="1"/>
                <c:pt idx="0">
                  <c:v>Nivea</c:v>
                </c:pt>
              </c:strCache>
            </c:strRef>
          </c:cat>
          <c:val>
            <c:numRef>
              <c:f>Sheet1!$B$2:$B$2</c:f>
              <c:numCache>
                <c:formatCode>General</c:formatCode>
                <c:ptCount val="1"/>
                <c:pt idx="0">
                  <c:v>175.096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Nivea</c:v>
                </c:pt>
              </c:strCache>
            </c:strRef>
          </c:cat>
          <c:val>
            <c:numRef>
              <c:f>Sheet1!$C$2:$C$2</c:f>
              <c:numCache>
                <c:formatCode>General</c:formatCode>
                <c:ptCount val="1"/>
                <c:pt idx="0">
                  <c:v>264.38679999999999</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eutrogena</c:v>
                </c:pt>
                <c:pt idx="1">
                  <c:v>Isdin</c:v>
                </c:pt>
                <c:pt idx="2">
                  <c:v>Others Marca Unif.</c:v>
                </c:pt>
                <c:pt idx="3">
                  <c:v>La Roche-Posay</c:v>
                </c:pt>
                <c:pt idx="4">
                  <c:v>Vichy</c:v>
                </c:pt>
                <c:pt idx="5">
                  <c:v>Sunblock</c:v>
                </c:pt>
                <c:pt idx="6">
                  <c:v>Photoderm</c:v>
                </c:pt>
              </c:strCache>
            </c:strRef>
          </c:cat>
          <c:val>
            <c:numRef>
              <c:f>Sheet1!$B$2:$B$8</c:f>
              <c:numCache>
                <c:formatCode>General</c:formatCode>
                <c:ptCount val="7"/>
                <c:pt idx="0">
                  <c:v>224.5176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eutrogena</c:v>
                </c:pt>
                <c:pt idx="1">
                  <c:v>Isdin</c:v>
                </c:pt>
                <c:pt idx="2">
                  <c:v>Others Marca Unif.</c:v>
                </c:pt>
                <c:pt idx="3">
                  <c:v>La Roche-Posay</c:v>
                </c:pt>
                <c:pt idx="4">
                  <c:v>Vichy</c:v>
                </c:pt>
                <c:pt idx="5">
                  <c:v>Sunblock</c:v>
                </c:pt>
                <c:pt idx="6">
                  <c:v>Photoderm</c:v>
                </c:pt>
              </c:strCache>
            </c:strRef>
          </c:cat>
          <c:val>
            <c:numRef>
              <c:f>Sheet1!$C$2:$C$8</c:f>
              <c:numCache>
                <c:formatCode>General</c:formatCode>
                <c:ptCount val="7"/>
                <c:pt idx="2">
                  <c:v>142.6381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eutrogena</c:v>
                </c:pt>
                <c:pt idx="1">
                  <c:v>Isdin</c:v>
                </c:pt>
                <c:pt idx="2">
                  <c:v>Others Marca Unif.</c:v>
                </c:pt>
                <c:pt idx="3">
                  <c:v>La Roche-Posay</c:v>
                </c:pt>
                <c:pt idx="4">
                  <c:v>Vichy</c:v>
                </c:pt>
                <c:pt idx="5">
                  <c:v>Sunblock</c:v>
                </c:pt>
                <c:pt idx="6">
                  <c:v>Photoderm</c:v>
                </c:pt>
              </c:strCache>
            </c:strRef>
          </c:cat>
          <c:val>
            <c:numRef>
              <c:f>Sheet1!$D$2:$D$8</c:f>
              <c:numCache>
                <c:formatCode>General</c:formatCode>
                <c:ptCount val="7"/>
                <c:pt idx="5">
                  <c:v>251.0631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eutrogena</c:v>
                </c:pt>
                <c:pt idx="1">
                  <c:v>Isdin</c:v>
                </c:pt>
                <c:pt idx="2">
                  <c:v>Others Marca Unif.</c:v>
                </c:pt>
                <c:pt idx="3">
                  <c:v>La Roche-Posay</c:v>
                </c:pt>
                <c:pt idx="4">
                  <c:v>Vichy</c:v>
                </c:pt>
                <c:pt idx="5">
                  <c:v>Sunblock</c:v>
                </c:pt>
                <c:pt idx="6">
                  <c:v>Photoderm</c:v>
                </c:pt>
              </c:strCache>
            </c:strRef>
          </c:cat>
          <c:val>
            <c:numRef>
              <c:f>Sheet1!$E$2:$E$8</c:f>
              <c:numCache>
                <c:formatCode>General</c:formatCode>
                <c:ptCount val="7"/>
                <c:pt idx="0">
                  <c:v>304.429500000000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0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eutrogena</c:v>
                </c:pt>
                <c:pt idx="1">
                  <c:v>Isdin</c:v>
                </c:pt>
                <c:pt idx="2">
                  <c:v>Others Marca Unif.</c:v>
                </c:pt>
                <c:pt idx="3">
                  <c:v>La Roche-Posay</c:v>
                </c:pt>
                <c:pt idx="4">
                  <c:v>Vichy</c:v>
                </c:pt>
                <c:pt idx="5">
                  <c:v>Sunblock</c:v>
                </c:pt>
                <c:pt idx="6">
                  <c:v>Photoderm</c:v>
                </c:pt>
              </c:strCache>
            </c:strRef>
          </c:cat>
          <c:val>
            <c:numRef>
              <c:f>Sheet1!$F$2:$F$8</c:f>
              <c:numCache>
                <c:formatCode>General</c:formatCode>
                <c:ptCount val="7"/>
                <c:pt idx="4">
                  <c:v>765.5371999999999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eutrogena</c:v>
                </c:pt>
                <c:pt idx="1">
                  <c:v>Isdin</c:v>
                </c:pt>
                <c:pt idx="2">
                  <c:v>Others Marca Unif.</c:v>
                </c:pt>
                <c:pt idx="3">
                  <c:v>La Roche-Posay</c:v>
                </c:pt>
                <c:pt idx="4">
                  <c:v>Vichy</c:v>
                </c:pt>
                <c:pt idx="5">
                  <c:v>Sunblock</c:v>
                </c:pt>
                <c:pt idx="6">
                  <c:v>Photoderm</c:v>
                </c:pt>
              </c:strCache>
            </c:strRef>
          </c:cat>
          <c:val>
            <c:numRef>
              <c:f>Sheet1!$G$2:$G$8</c:f>
              <c:numCache>
                <c:formatCode>General</c:formatCode>
                <c:ptCount val="7"/>
                <c:pt idx="0">
                  <c:v>306.64359999999999</c:v>
                </c:pt>
                <c:pt idx="6">
                  <c:v>597.2756000000000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eutrogena</c:v>
                </c:pt>
                <c:pt idx="1">
                  <c:v>Isdin</c:v>
                </c:pt>
                <c:pt idx="2">
                  <c:v>Others Marca Unif.</c:v>
                </c:pt>
                <c:pt idx="3">
                  <c:v>La Roche-Posay</c:v>
                </c:pt>
                <c:pt idx="4">
                  <c:v>Vichy</c:v>
                </c:pt>
                <c:pt idx="5">
                  <c:v>Sunblock</c:v>
                </c:pt>
                <c:pt idx="6">
                  <c:v>Photoderm</c:v>
                </c:pt>
              </c:strCache>
            </c:strRef>
          </c:cat>
          <c:val>
            <c:numRef>
              <c:f>Sheet1!$H$2:$H$8</c:f>
              <c:numCache>
                <c:formatCode>General</c:formatCode>
                <c:ptCount val="7"/>
                <c:pt idx="1">
                  <c:v>583.70219999999995</c:v>
                </c:pt>
                <c:pt idx="3">
                  <c:v>608.7546999999999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eutrogena</c:v>
                </c:pt>
                <c:pt idx="1">
                  <c:v>Isdin</c:v>
                </c:pt>
                <c:pt idx="2">
                  <c:v>Others Marca Unif.</c:v>
                </c:pt>
                <c:pt idx="3">
                  <c:v>La Roche-Posay</c:v>
                </c:pt>
                <c:pt idx="4">
                  <c:v>Vichy</c:v>
                </c:pt>
                <c:pt idx="5">
                  <c:v>Sunblock</c:v>
                </c:pt>
                <c:pt idx="6">
                  <c:v>Photoderm</c:v>
                </c:pt>
              </c:strCache>
            </c:strRef>
          </c:cat>
          <c:val>
            <c:numRef>
              <c:f>Sheet1!$I$2:$I$8</c:f>
              <c:numCache>
                <c:formatCode>General</c:formatCode>
                <c:ptCount val="7"/>
                <c:pt idx="2">
                  <c:v>118.896</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Loreal Paris</c:v>
                </c:pt>
                <c:pt idx="1">
                  <c:v>La Roche-Posay</c:v>
                </c:pt>
                <c:pt idx="2">
                  <c:v>Others Marca Unif.</c:v>
                </c:pt>
                <c:pt idx="3">
                  <c:v>Vichy</c:v>
                </c:pt>
              </c:strCache>
            </c:strRef>
          </c:cat>
          <c:val>
            <c:numRef>
              <c:f>Sheet1!$B$2:$B$5</c:f>
              <c:numCache>
                <c:formatCode>General</c:formatCode>
                <c:ptCount val="4"/>
                <c:pt idx="2">
                  <c:v>590.6317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Loreal Paris</c:v>
                </c:pt>
                <c:pt idx="1">
                  <c:v>La Roche-Posay</c:v>
                </c:pt>
                <c:pt idx="2">
                  <c:v>Others Marca Unif.</c:v>
                </c:pt>
                <c:pt idx="3">
                  <c:v>Vichy</c:v>
                </c:pt>
              </c:strCache>
            </c:strRef>
          </c:cat>
          <c:val>
            <c:numRef>
              <c:f>Sheet1!$C$2:$C$5</c:f>
              <c:numCache>
                <c:formatCode>General</c:formatCode>
                <c:ptCount val="4"/>
                <c:pt idx="3">
                  <c:v>675.5081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Loreal Paris</c:v>
                </c:pt>
                <c:pt idx="1">
                  <c:v>La Roche-Posay</c:v>
                </c:pt>
                <c:pt idx="2">
                  <c:v>Others Marca Unif.</c:v>
                </c:pt>
                <c:pt idx="3">
                  <c:v>Vichy</c:v>
                </c:pt>
              </c:strCache>
            </c:strRef>
          </c:cat>
          <c:val>
            <c:numRef>
              <c:f>Sheet1!$D$2:$D$5</c:f>
              <c:numCache>
                <c:formatCode>General</c:formatCode>
                <c:ptCount val="4"/>
                <c:pt idx="1">
                  <c:v>873.4262999999999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Loreal Paris</c:v>
                </c:pt>
                <c:pt idx="1">
                  <c:v>La Roche-Posay</c:v>
                </c:pt>
                <c:pt idx="2">
                  <c:v>Others Marca Unif.</c:v>
                </c:pt>
                <c:pt idx="3">
                  <c:v>Vichy</c:v>
                </c:pt>
              </c:strCache>
            </c:strRef>
          </c:cat>
          <c:val>
            <c:numRef>
              <c:f>Sheet1!$E$2:$E$5</c:f>
              <c:numCache>
                <c:formatCode>General</c:formatCode>
                <c:ptCount val="4"/>
                <c:pt idx="0">
                  <c:v>247.2052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0ML</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Loreal Paris</c:v>
                </c:pt>
                <c:pt idx="1">
                  <c:v>La Roche-Posay</c:v>
                </c:pt>
                <c:pt idx="2">
                  <c:v>Others Marca Unif.</c:v>
                </c:pt>
                <c:pt idx="3">
                  <c:v>Vichy</c:v>
                </c:pt>
              </c:strCache>
            </c:strRef>
          </c:cat>
          <c:val>
            <c:numRef>
              <c:f>Sheet1!$F$2:$F$5</c:f>
              <c:numCache>
                <c:formatCode>General</c:formatCode>
                <c:ptCount val="4"/>
                <c:pt idx="1">
                  <c:v>571.8741999999999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75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Loreal Paris</c:v>
                </c:pt>
                <c:pt idx="1">
                  <c:v>La Roche-Posay</c:v>
                </c:pt>
                <c:pt idx="2">
                  <c:v>Others Marca Unif.</c:v>
                </c:pt>
                <c:pt idx="3">
                  <c:v>Vichy</c:v>
                </c:pt>
              </c:strCache>
            </c:strRef>
          </c:cat>
          <c:val>
            <c:numRef>
              <c:f>Sheet1!$G$2:$G$5</c:f>
              <c:numCache>
                <c:formatCode>General</c:formatCode>
                <c:ptCount val="4"/>
                <c:pt idx="1">
                  <c:v>414.77879999999999</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69076D5-4040-43E9-BE6A-D70E477E6B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0A19A5C-824D-49AC-9CA3-E5F2C79B91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B4BD6F3-09C7-4128-AB3A-415ECD102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FC7D9C7-8EE1-4376-A263-961EDC1077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2716D5C-3EB0-4169-AF22-9B177DCEEF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DDEC0A8-E191-435D-BD9D-E44BC2B1CD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AEC84F5-308A-4FE9-A207-F7277C34DF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AACFA4B-7E0A-4AB9-BBBE-F954459952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35.20339999999999</c:v>
                </c:pt>
                <c:pt idx="1">
                  <c:v>211.51759999999999</c:v>
                </c:pt>
                <c:pt idx="2">
                  <c:v>168.10589999999999</c:v>
                </c:pt>
                <c:pt idx="3">
                  <c:v>207.99539999999999</c:v>
                </c:pt>
              </c:numCache>
            </c:numRef>
          </c:xVal>
          <c:yVal>
            <c:numRef>
              <c:f>Sheet1!$B$2:$B$5</c:f>
              <c:numCache>
                <c:formatCode>General</c:formatCode>
                <c:ptCount val="4"/>
                <c:pt idx="0">
                  <c:v>0.98599999999999999</c:v>
                </c:pt>
                <c:pt idx="1">
                  <c:v>0.89700000000000002</c:v>
                </c:pt>
                <c:pt idx="2">
                  <c:v>0.89600000000000002</c:v>
                </c:pt>
                <c:pt idx="3">
                  <c:v>2.7839999999999998</c:v>
                </c:pt>
              </c:numCache>
            </c:numRef>
          </c:yVal>
          <c:bubbleSize>
            <c:numRef>
              <c:f>Sheet1!$C$2:$C$5</c:f>
              <c:numCache>
                <c:formatCode>General</c:formatCode>
                <c:ptCount val="4"/>
                <c:pt idx="0">
                  <c:v>318387310</c:v>
                </c:pt>
                <c:pt idx="1">
                  <c:v>168681017</c:v>
                </c:pt>
                <c:pt idx="2">
                  <c:v>73088598</c:v>
                </c:pt>
                <c:pt idx="3">
                  <c:v>13146973</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2"/>
          <c:min val="13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FC37DAD-373E-4677-807C-4283B6FA99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194BD12-9EB8-4CC0-9B8B-2BDC6B8566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6178750-DC2C-461F-9A2B-2A4CE95BAF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93082E4-9FB4-42EC-B19B-C69E55A906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4E4EFEB-287B-4B2F-B899-E402D01296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55E6EE0-A56C-4335-8AEC-1E0FAFD586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B288439-5E38-4002-93F6-D23C31D083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CC848D7-680F-4395-AF19-FEF49E1831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62.02730000000003</c:v>
                </c:pt>
                <c:pt idx="1">
                  <c:v>404.45150000000001</c:v>
                </c:pt>
              </c:numCache>
            </c:numRef>
          </c:xVal>
          <c:yVal>
            <c:numRef>
              <c:f>Sheet1!$B$2:$B$3</c:f>
              <c:numCache>
                <c:formatCode>General</c:formatCode>
                <c:ptCount val="2"/>
                <c:pt idx="0">
                  <c:v>0.96699999999999997</c:v>
                </c:pt>
                <c:pt idx="1">
                  <c:v>4.4260000000000002</c:v>
                </c:pt>
              </c:numCache>
            </c:numRef>
          </c:yVal>
          <c:bubbleSize>
            <c:numRef>
              <c:f>Sheet1!$C$2:$C$3</c:f>
              <c:numCache>
                <c:formatCode>General</c:formatCode>
                <c:ptCount val="2"/>
                <c:pt idx="0">
                  <c:v>65122427</c:v>
                </c:pt>
                <c:pt idx="1">
                  <c:v>2967056</c:v>
                </c:pt>
              </c:numCache>
            </c:numRef>
          </c:bubbleSize>
          <c:bubble3D val="0"/>
          <c:extLst>
            <c:ext xmlns:c15="http://schemas.microsoft.com/office/drawing/2012/chart" uri="{02D57815-91ED-43cb-92C2-25804820EDAC}">
              <c15:datalabelsRange>
                <c15:f>Sheet1!$E$2:$E$10</c15:f>
                <c15:dlblRangeCache>
                  <c:ptCount val="9"/>
                  <c:pt idx="0">
                    <c:v>Banana Boat</c:v>
                  </c:pt>
                  <c:pt idx="1">
                    <c:v>Muste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85"/>
          <c:min val="2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44AC0E0-4745-4B0D-B1E5-25D0110E4A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A1EBCAE4-491A-4CEB-A279-5DA16BEA5A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F0BFFC8-851F-4771-813D-2DF6643A90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ED9287E-77FD-4D46-83FC-213918C866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CD85B6D-8F91-4D57-BFCB-4E8EDE4F5A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1CFBD65-FECE-419D-BC76-3A684FC09E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46499D6-903E-490A-BF23-6C806C2143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7F5DA03-F809-4593-BDCB-B6F48BBF21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4.3065</c:v>
                </c:pt>
              </c:numCache>
            </c:numRef>
          </c:xVal>
          <c:yVal>
            <c:numRef>
              <c:f>Sheet1!$B$2:$B$2</c:f>
              <c:numCache>
                <c:formatCode>General</c:formatCode>
                <c:ptCount val="1"/>
                <c:pt idx="0">
                  <c:v>1</c:v>
                </c:pt>
              </c:numCache>
            </c:numRef>
          </c:yVal>
          <c:bubbleSize>
            <c:numRef>
              <c:f>Sheet1!$C$2:$C$2</c:f>
              <c:numCache>
                <c:formatCode>General</c:formatCode>
                <c:ptCount val="1"/>
                <c:pt idx="0">
                  <c:v>1572343</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5"/>
          <c:min val="16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83F7D28-7A9B-47EE-A304-1A433FA292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21F783ED-893E-4174-91C2-82CA1FA032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1F83FC8-C066-4A6D-922F-FBD21BE11F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A004230-1B3D-4BFF-9519-B46A8ABD53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DC58772-D3F0-4697-ABAF-D6C0A09E2B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F15023F-6932-4B05-923B-3D1085B488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0FEEE78-FF8B-439E-9BE1-EF2FAD5BAD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1AF706C-E39E-4261-998F-55B444B807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05699999999999</c:v>
                </c:pt>
              </c:numCache>
            </c:numRef>
          </c:xVal>
          <c:yVal>
            <c:numRef>
              <c:f>Sheet1!$B$2:$B$2</c:f>
              <c:numCache>
                <c:formatCode>General</c:formatCode>
                <c:ptCount val="1"/>
                <c:pt idx="0">
                  <c:v>0.93899999999999995</c:v>
                </c:pt>
              </c:numCache>
            </c:numRef>
          </c:yVal>
          <c:bubbleSize>
            <c:numRef>
              <c:f>Sheet1!$C$2:$C$2</c:f>
              <c:numCache>
                <c:formatCode>General</c:formatCode>
                <c:ptCount val="1"/>
                <c:pt idx="0">
                  <c:v>13435038</c:v>
                </c:pt>
              </c:numCache>
            </c:numRef>
          </c:bubbleSize>
          <c:bubble3D val="0"/>
          <c:extLst>
            <c:ext xmlns:c15="http://schemas.microsoft.com/office/drawing/2012/chart" uri="{02D57815-91ED-43cb-92C2-25804820EDAC}">
              <c15:datalabelsRange>
                <c15:f>Sheet1!$E$2:$E$10</c15:f>
                <c15:dlblRangeCache>
                  <c:ptCount val="9"/>
                  <c:pt idx="0">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8"/>
          <c:min val="17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FFDB748-CE43-4F86-8B3C-54A46D1289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0D2A529-C205-4A21-9454-79B1AC275A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231C1F0-D9F4-4729-9156-20899486DB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64A3ED5-DFF9-40C9-96AC-686ED9940E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BA874B7-B336-4900-AFF9-9EEE5E6A65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EF3282E-7701-4599-992D-C5A126FBC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51AEDDE-5260-4878-B2DE-BC94051E71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70D2A04-88E7-4119-B51F-0A87EE2D06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63.82780000000002</c:v>
                </c:pt>
                <c:pt idx="1">
                  <c:v>348.69290000000001</c:v>
                </c:pt>
                <c:pt idx="2">
                  <c:v>318.44499999999999</c:v>
                </c:pt>
                <c:pt idx="3">
                  <c:v>398.262</c:v>
                </c:pt>
              </c:numCache>
            </c:numRef>
          </c:xVal>
          <c:yVal>
            <c:numRef>
              <c:f>Sheet1!$B$2:$B$5</c:f>
              <c:numCache>
                <c:formatCode>General</c:formatCode>
                <c:ptCount val="4"/>
                <c:pt idx="0">
                  <c:v>0.58799999999999997</c:v>
                </c:pt>
                <c:pt idx="1">
                  <c:v>2.06</c:v>
                </c:pt>
                <c:pt idx="2">
                  <c:v>2.1360000000000001</c:v>
                </c:pt>
                <c:pt idx="3">
                  <c:v>2.097</c:v>
                </c:pt>
              </c:numCache>
            </c:numRef>
          </c:yVal>
          <c:bubbleSize>
            <c:numRef>
              <c:f>Sheet1!$C$2:$C$5</c:f>
              <c:numCache>
                <c:formatCode>General</c:formatCode>
                <c:ptCount val="4"/>
                <c:pt idx="0">
                  <c:v>2320629</c:v>
                </c:pt>
                <c:pt idx="1">
                  <c:v>2139231</c:v>
                </c:pt>
                <c:pt idx="2">
                  <c:v>871584</c:v>
                </c:pt>
                <c:pt idx="3">
                  <c:v>191564</c:v>
                </c:pt>
              </c:numCache>
            </c:numRef>
          </c:bubbleSize>
          <c:bubble3D val="0"/>
          <c:extLst>
            <c:ext xmlns:c15="http://schemas.microsoft.com/office/drawing/2012/chart" uri="{02D57815-91ED-43cb-92C2-25804820EDAC}">
              <c15:datalabelsRange>
                <c15:f>Sheet1!$E$2:$E$10</c15:f>
                <c15:dlblRangeCache>
                  <c:ptCount val="9"/>
                  <c:pt idx="0">
                    <c:v>Banana Boat</c:v>
                  </c:pt>
                  <c:pt idx="1">
                    <c:v>Australian Gold</c:v>
                  </c:pt>
                  <c:pt idx="2">
                    <c:v>Ocean Potion</c:v>
                  </c:pt>
                  <c:pt idx="3">
                    <c:v>Muste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78"/>
          <c:min val="21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70C6271-5175-4FFA-9AA8-F4BFC16C2C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78208F5-B229-473C-BC37-3E13792183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786CD66-B1BB-47D6-ACCF-C14F9FCC68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D5D2155-581A-40E9-B66A-1DA5FF4C99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2EDFF45-4B32-4829-91AC-595E74C8E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ECEE49-C331-414D-A731-2FCBC201DA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A70113A-23B9-4167-84CB-695090DF53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D820883-3DCD-4C5F-91D8-0DE7B5F869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50.75120000000001</c:v>
                </c:pt>
                <c:pt idx="1">
                  <c:v>612.90509999999995</c:v>
                </c:pt>
                <c:pt idx="2">
                  <c:v>219.54179999999999</c:v>
                </c:pt>
                <c:pt idx="3">
                  <c:v>589.39139999999998</c:v>
                </c:pt>
                <c:pt idx="4">
                  <c:v>212.96</c:v>
                </c:pt>
                <c:pt idx="5">
                  <c:v>659.04079999999999</c:v>
                </c:pt>
                <c:pt idx="6">
                  <c:v>682.5127</c:v>
                </c:pt>
                <c:pt idx="7">
                  <c:v>300.99579999999997</c:v>
                </c:pt>
                <c:pt idx="8">
                  <c:v>708.92679999999996</c:v>
                </c:pt>
              </c:numCache>
            </c:numRef>
          </c:xVal>
          <c:yVal>
            <c:numRef>
              <c:f>Sheet1!$B$2:$B$10</c:f>
              <c:numCache>
                <c:formatCode>General</c:formatCode>
                <c:ptCount val="9"/>
                <c:pt idx="0">
                  <c:v>0.73099999999999998</c:v>
                </c:pt>
                <c:pt idx="1">
                  <c:v>2.7789999999999999</c:v>
                </c:pt>
                <c:pt idx="2">
                  <c:v>0.501</c:v>
                </c:pt>
                <c:pt idx="3">
                  <c:v>4.625</c:v>
                </c:pt>
                <c:pt idx="4">
                  <c:v>0.48899999999999999</c:v>
                </c:pt>
                <c:pt idx="5">
                  <c:v>3.8980000000000001</c:v>
                </c:pt>
                <c:pt idx="6">
                  <c:v>3.4430000000000001</c:v>
                </c:pt>
                <c:pt idx="7">
                  <c:v>1.4159999999999999</c:v>
                </c:pt>
                <c:pt idx="8">
                  <c:v>3.6160000000000001</c:v>
                </c:pt>
              </c:numCache>
            </c:numRef>
          </c:yVal>
          <c:bubbleSize>
            <c:numRef>
              <c:f>Sheet1!$C$2:$C$10</c:f>
              <c:numCache>
                <c:formatCode>General</c:formatCode>
                <c:ptCount val="9"/>
                <c:pt idx="0">
                  <c:v>726313442</c:v>
                </c:pt>
                <c:pt idx="1">
                  <c:v>560154823</c:v>
                </c:pt>
                <c:pt idx="2">
                  <c:v>374545370</c:v>
                </c:pt>
                <c:pt idx="3">
                  <c:v>354099274</c:v>
                </c:pt>
                <c:pt idx="4">
                  <c:v>315308437</c:v>
                </c:pt>
                <c:pt idx="5">
                  <c:v>246274334</c:v>
                </c:pt>
                <c:pt idx="6">
                  <c:v>224564421</c:v>
                </c:pt>
                <c:pt idx="7">
                  <c:v>161084241</c:v>
                </c:pt>
                <c:pt idx="8">
                  <c:v>111973578</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Hawaiian Tropic</c:v>
                  </c:pt>
                  <c:pt idx="3">
                    <c:v>La Roche-Posay</c:v>
                  </c:pt>
                  <c:pt idx="4">
                    <c:v>Banana Boat</c:v>
                  </c:pt>
                  <c:pt idx="5">
                    <c:v>Eucerin</c:v>
                  </c:pt>
                  <c:pt idx="6">
                    <c:v>Avene</c:v>
                  </c:pt>
                  <c:pt idx="7">
                    <c:v>Neutrogena</c:v>
                  </c:pt>
                  <c:pt idx="8">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1"/>
          <c:min val="1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B4A370F-AA99-499A-BA14-F0954792A7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E416A9B8-0256-4062-B262-C5F6853D65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43AF9B3-C3E1-42BF-AFBA-00F5A0426B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CD4A153-D280-4961-9E1C-787F263A93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580C8E7-EB8C-4B65-840F-4781091331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E5E782D-AC8E-4B2C-88C1-F4348A2F34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B85A50D-18A0-4E17-8EC6-03BF9B5C04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854A21F-481A-4E9E-B077-F7B50B9B83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50.09210000000002</c:v>
                </c:pt>
              </c:numCache>
            </c:numRef>
          </c:xVal>
          <c:yVal>
            <c:numRef>
              <c:f>Sheet1!$B$2:$B$2</c:f>
              <c:numCache>
                <c:formatCode>General</c:formatCode>
                <c:ptCount val="1"/>
                <c:pt idx="0">
                  <c:v>0.51700000000000002</c:v>
                </c:pt>
              </c:numCache>
            </c:numRef>
          </c:yVal>
          <c:bubbleSize>
            <c:numRef>
              <c:f>Sheet1!$C$2:$C$2</c:f>
              <c:numCache>
                <c:formatCode>General</c:formatCode>
                <c:ptCount val="1"/>
                <c:pt idx="0">
                  <c:v>2161819</c:v>
                </c:pt>
              </c:numCache>
            </c:numRef>
          </c:bubbleSize>
          <c:bubble3D val="0"/>
          <c:extLst>
            <c:ext xmlns:c15="http://schemas.microsoft.com/office/drawing/2012/chart" uri="{02D57815-91ED-43cb-92C2-25804820EDAC}">
              <c15:datalabelsRange>
                <c15:f>Sheet1!$E$2:$E$10</c15:f>
                <c15:dlblRangeCache>
                  <c:ptCount val="9"/>
                  <c:pt idx="0">
                    <c:v>Neutrogen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0"/>
          <c:min val="2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C191E9D-FE66-4165-8FB4-6C1F2D3618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A5CA1DA-FE05-4224-8791-238594D2A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CE9C6ED-C765-4D27-9CC6-DA85B98281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2C5513-E860-4527-BA5E-2572C3E9B0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EEB24F4-C498-4D36-BB9A-68BE6FA6CD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FBCD400-F840-43B0-B56B-399DD7CCC0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5C49499-C7A0-47F6-8CCF-A97EAB24B7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57F7E51-7E2A-4549-87EB-B40A0D843F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632.50260000000003</c:v>
                </c:pt>
                <c:pt idx="1">
                  <c:v>548.4271</c:v>
                </c:pt>
                <c:pt idx="2">
                  <c:v>681.34450000000004</c:v>
                </c:pt>
                <c:pt idx="3">
                  <c:v>678.15869999999995</c:v>
                </c:pt>
              </c:numCache>
            </c:numRef>
          </c:xVal>
          <c:yVal>
            <c:numRef>
              <c:f>Sheet1!$B$2:$B$5</c:f>
              <c:numCache>
                <c:formatCode>General</c:formatCode>
                <c:ptCount val="4"/>
                <c:pt idx="0">
                  <c:v>0.80900000000000005</c:v>
                </c:pt>
                <c:pt idx="1">
                  <c:v>1.607</c:v>
                </c:pt>
                <c:pt idx="2">
                  <c:v>2.2970000000000002</c:v>
                </c:pt>
                <c:pt idx="3">
                  <c:v>0.86499999999999999</c:v>
                </c:pt>
              </c:numCache>
            </c:numRef>
          </c:yVal>
          <c:bubbleSize>
            <c:numRef>
              <c:f>Sheet1!$C$2:$C$5</c:f>
              <c:numCache>
                <c:formatCode>General</c:formatCode>
                <c:ptCount val="4"/>
                <c:pt idx="0">
                  <c:v>29936346</c:v>
                </c:pt>
                <c:pt idx="1">
                  <c:v>29139577</c:v>
                </c:pt>
                <c:pt idx="2">
                  <c:v>3833244</c:v>
                </c:pt>
                <c:pt idx="3">
                  <c:v>3764459</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Vichy</c:v>
                  </c:pt>
                  <c:pt idx="3">
                    <c:v>Helio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8"/>
          <c:min val="43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72CEFFD-DAA8-4D95-A77B-D10D637C72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0E63F40-D6FF-4395-85F0-71EB6B4E24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2627BA5-78D9-41F2-A4A3-752A117B16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881F854-10A3-4704-B6BA-B4C3B7AC4D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1F0BE19-0A3A-4A53-BC1B-E5E3B35D43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B1A61E9-D67D-4E3B-BDD7-3613E28AF3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1E026AA-8322-4F7E-81B0-E3159F2156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11F65DA-CBB1-4754-9F22-F62388656E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616.96550000000002</c:v>
                </c:pt>
                <c:pt idx="1">
                  <c:v>652.5068</c:v>
                </c:pt>
                <c:pt idx="2">
                  <c:v>301.11059999999998</c:v>
                </c:pt>
                <c:pt idx="3">
                  <c:v>657.21069999999997</c:v>
                </c:pt>
                <c:pt idx="4">
                  <c:v>692.55909999999994</c:v>
                </c:pt>
                <c:pt idx="5">
                  <c:v>624.06190000000004</c:v>
                </c:pt>
                <c:pt idx="6">
                  <c:v>701.09299999999996</c:v>
                </c:pt>
                <c:pt idx="7">
                  <c:v>731.90039999999999</c:v>
                </c:pt>
                <c:pt idx="8">
                  <c:v>332.98180000000002</c:v>
                </c:pt>
              </c:numCache>
            </c:numRef>
          </c:xVal>
          <c:yVal>
            <c:numRef>
              <c:f>Sheet1!$B$2:$B$10</c:f>
              <c:numCache>
                <c:formatCode>General</c:formatCode>
                <c:ptCount val="9"/>
                <c:pt idx="0">
                  <c:v>2.0150000000000001</c:v>
                </c:pt>
                <c:pt idx="1">
                  <c:v>1.214</c:v>
                </c:pt>
                <c:pt idx="2">
                  <c:v>0.53800000000000003</c:v>
                </c:pt>
                <c:pt idx="3">
                  <c:v>1.909</c:v>
                </c:pt>
                <c:pt idx="4">
                  <c:v>1.321</c:v>
                </c:pt>
                <c:pt idx="5">
                  <c:v>2.0430000000000001</c:v>
                </c:pt>
                <c:pt idx="6">
                  <c:v>3.0049999999999999</c:v>
                </c:pt>
                <c:pt idx="7">
                  <c:v>0.84</c:v>
                </c:pt>
                <c:pt idx="8">
                  <c:v>0.621</c:v>
                </c:pt>
              </c:numCache>
            </c:numRef>
          </c:yVal>
          <c:bubbleSize>
            <c:numRef>
              <c:f>Sheet1!$C$2:$C$10</c:f>
              <c:numCache>
                <c:formatCode>General</c:formatCode>
                <c:ptCount val="9"/>
                <c:pt idx="0">
                  <c:v>328173180</c:v>
                </c:pt>
                <c:pt idx="1">
                  <c:v>160863816</c:v>
                </c:pt>
                <c:pt idx="2">
                  <c:v>160839713</c:v>
                </c:pt>
                <c:pt idx="3">
                  <c:v>106499686</c:v>
                </c:pt>
                <c:pt idx="4">
                  <c:v>104277234</c:v>
                </c:pt>
                <c:pt idx="5">
                  <c:v>50723131</c:v>
                </c:pt>
                <c:pt idx="6">
                  <c:v>49077211</c:v>
                </c:pt>
                <c:pt idx="7">
                  <c:v>48649421</c:v>
                </c:pt>
                <c:pt idx="8">
                  <c:v>32875626</c:v>
                </c:pt>
              </c:numCache>
            </c:numRef>
          </c:bubbleSize>
          <c:bubble3D val="0"/>
          <c:extLst>
            <c:ext xmlns:c15="http://schemas.microsoft.com/office/drawing/2012/chart" uri="{02D57815-91ED-43cb-92C2-25804820EDAC}">
              <c15:datalabelsRange>
                <c15:f>Sheet1!$E$2:$E$10</c15:f>
                <c15:dlblRangeCache>
                  <c:ptCount val="9"/>
                  <c:pt idx="0">
                    <c:v>Isdin</c:v>
                  </c:pt>
                  <c:pt idx="1">
                    <c:v>Avene</c:v>
                  </c:pt>
                  <c:pt idx="2">
                    <c:v>Neutrogena</c:v>
                  </c:pt>
                  <c:pt idx="3">
                    <c:v>La Roche-Posay</c:v>
                  </c:pt>
                  <c:pt idx="4">
                    <c:v>Eucerin</c:v>
                  </c:pt>
                  <c:pt idx="5">
                    <c:v>Heliocare</c:v>
                  </c:pt>
                  <c:pt idx="6">
                    <c:v>Photoderm</c:v>
                  </c:pt>
                  <c:pt idx="7">
                    <c:v>Vichy</c:v>
                  </c:pt>
                  <c:pt idx="8">
                    <c:v>Eclipso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78"/>
          <c:min val="24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DDCE8A3-4E78-4173-9487-E9515442DF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3D0C1C4-1BB9-4DEB-89BF-BD21CE9242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5DBFD05-49DE-405A-8F9A-C58329728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1C126E1-9393-43F9-A87E-BE57D15002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13C6ECD-832E-4719-905B-B05503F040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305B23D-4745-4F71-A213-A79A150E62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03D53D7-5DDC-44F0-8BD6-B6F020988A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A803721-C6E4-4C3A-93C0-226D29906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14.13599999999997</c:v>
                </c:pt>
                <c:pt idx="1">
                  <c:v>645.86260000000004</c:v>
                </c:pt>
                <c:pt idx="2">
                  <c:v>726.0145</c:v>
                </c:pt>
                <c:pt idx="3">
                  <c:v>646.51089999999999</c:v>
                </c:pt>
                <c:pt idx="4">
                  <c:v>592.42269999999996</c:v>
                </c:pt>
                <c:pt idx="5">
                  <c:v>581.06089999999995</c:v>
                </c:pt>
              </c:numCache>
            </c:numRef>
          </c:xVal>
          <c:yVal>
            <c:numRef>
              <c:f>Sheet1!$B$2:$B$7</c:f>
              <c:numCache>
                <c:formatCode>General</c:formatCode>
                <c:ptCount val="6"/>
                <c:pt idx="0">
                  <c:v>0.94399999999999995</c:v>
                </c:pt>
                <c:pt idx="1">
                  <c:v>0.996</c:v>
                </c:pt>
                <c:pt idx="2">
                  <c:v>1.2</c:v>
                </c:pt>
                <c:pt idx="3">
                  <c:v>0.996</c:v>
                </c:pt>
                <c:pt idx="4">
                  <c:v>0.91100000000000003</c:v>
                </c:pt>
                <c:pt idx="5">
                  <c:v>1.149</c:v>
                </c:pt>
              </c:numCache>
            </c:numRef>
          </c:yVal>
          <c:bubbleSize>
            <c:numRef>
              <c:f>Sheet1!$C$2:$C$7</c:f>
              <c:numCache>
                <c:formatCode>General</c:formatCode>
                <c:ptCount val="6"/>
                <c:pt idx="0">
                  <c:v>147422120</c:v>
                </c:pt>
                <c:pt idx="1">
                  <c:v>96362699</c:v>
                </c:pt>
                <c:pt idx="2">
                  <c:v>58831861</c:v>
                </c:pt>
                <c:pt idx="3">
                  <c:v>26462337</c:v>
                </c:pt>
                <c:pt idx="4">
                  <c:v>21888242</c:v>
                </c:pt>
                <c:pt idx="5">
                  <c:v>18933868</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Avene</c:v>
                  </c:pt>
                  <c:pt idx="3">
                    <c:v>Heliocare</c:v>
                  </c:pt>
                  <c:pt idx="4">
                    <c:v>Eucerin</c:v>
                  </c:pt>
                  <c:pt idx="5">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71"/>
          <c:min val="46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DB8D9D9-433A-43DB-84F3-55B298B56F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1B36FF7-F472-4A50-8B5F-C69ABC3B8D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C622582-C3FC-425B-BB4A-699D9FE11C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1075FFE-287D-4EAE-9F6C-1C36991EF8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48514D2-7569-4F3A-BD1D-3C257D5743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C16D156-CB55-408E-8E76-3465371C8F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E88CFED-F375-4622-A721-BCB3F3B5CD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B90AEA6-E59B-43C6-9817-F585DF4A0A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27.3288</c:v>
                </c:pt>
                <c:pt idx="1">
                  <c:v>623.38030000000003</c:v>
                </c:pt>
                <c:pt idx="2">
                  <c:v>577.38869999999997</c:v>
                </c:pt>
                <c:pt idx="3">
                  <c:v>646.18470000000002</c:v>
                </c:pt>
                <c:pt idx="4">
                  <c:v>721.47519999999997</c:v>
                </c:pt>
                <c:pt idx="5">
                  <c:v>495.24310000000003</c:v>
                </c:pt>
              </c:numCache>
            </c:numRef>
          </c:xVal>
          <c:yVal>
            <c:numRef>
              <c:f>Sheet1!$B$2:$B$7</c:f>
              <c:numCache>
                <c:formatCode>General</c:formatCode>
                <c:ptCount val="6"/>
                <c:pt idx="0">
                  <c:v>0.498</c:v>
                </c:pt>
                <c:pt idx="1">
                  <c:v>2.4279999999999999</c:v>
                </c:pt>
                <c:pt idx="2">
                  <c:v>2.2370000000000001</c:v>
                </c:pt>
                <c:pt idx="3">
                  <c:v>2.12</c:v>
                </c:pt>
                <c:pt idx="4">
                  <c:v>3.6</c:v>
                </c:pt>
                <c:pt idx="5">
                  <c:v>0.96799999999999997</c:v>
                </c:pt>
              </c:numCache>
            </c:numRef>
          </c:yVal>
          <c:bubbleSize>
            <c:numRef>
              <c:f>Sheet1!$C$2:$C$7</c:f>
              <c:numCache>
                <c:formatCode>General</c:formatCode>
                <c:ptCount val="6"/>
                <c:pt idx="0">
                  <c:v>112770510</c:v>
                </c:pt>
                <c:pt idx="1">
                  <c:v>91754106</c:v>
                </c:pt>
                <c:pt idx="2">
                  <c:v>61804261</c:v>
                </c:pt>
                <c:pt idx="3">
                  <c:v>23401579</c:v>
                </c:pt>
                <c:pt idx="4">
                  <c:v>13728230</c:v>
                </c:pt>
                <c:pt idx="5">
                  <c:v>6321283</c:v>
                </c:pt>
              </c:numCache>
            </c:numRef>
          </c:bubbleSize>
          <c:bubble3D val="0"/>
          <c:extLst>
            <c:ext xmlns:c15="http://schemas.microsoft.com/office/drawing/2012/chart" uri="{02D57815-91ED-43cb-92C2-25804820EDAC}">
              <c15:datalabelsRange>
                <c15:f>Sheet1!$E$2:$E$10</c15:f>
                <c15:dlblRangeCache>
                  <c:ptCount val="9"/>
                  <c:pt idx="0">
                    <c:v>Isdin</c:v>
                  </c:pt>
                  <c:pt idx="1">
                    <c:v>Eucerin</c:v>
                  </c:pt>
                  <c:pt idx="2">
                    <c:v>La Roche-Posay</c:v>
                  </c:pt>
                  <c:pt idx="3">
                    <c:v>Heliocare</c:v>
                  </c:pt>
                  <c:pt idx="4">
                    <c:v>Photoderm</c:v>
                  </c:pt>
                  <c:pt idx="5">
                    <c:v>Cetaph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66"/>
          <c:min val="39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1F8CC76-8A3E-4E3A-BA58-692F85899C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47EACB3-F025-4926-8543-9BFDEB66B4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0FBA8AC-0D2B-41CA-B399-F0BAD3ABF0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F451B2C-3C77-481F-B98D-9DB5D98595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C695F62-EBFF-49D6-834D-45C93C4CD6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9FD35F9-DE51-4EBC-ADC5-2CC7BBABF1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5763466-575A-4971-BEFB-06698A2FC2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7FBC429-452F-40CB-A5A9-4119755936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678.49900000000002</c:v>
                </c:pt>
                <c:pt idx="1">
                  <c:v>788.79700000000003</c:v>
                </c:pt>
              </c:numCache>
            </c:numRef>
          </c:xVal>
          <c:yVal>
            <c:numRef>
              <c:f>Sheet1!$B$2:$B$3</c:f>
              <c:numCache>
                <c:formatCode>General</c:formatCode>
                <c:ptCount val="2"/>
                <c:pt idx="0">
                  <c:v>0.90100000000000002</c:v>
                </c:pt>
                <c:pt idx="1">
                  <c:v>2.1040000000000001</c:v>
                </c:pt>
              </c:numCache>
            </c:numRef>
          </c:yVal>
          <c:bubbleSize>
            <c:numRef>
              <c:f>Sheet1!$C$2:$C$3</c:f>
              <c:numCache>
                <c:formatCode>General</c:formatCode>
                <c:ptCount val="2"/>
                <c:pt idx="0">
                  <c:v>34963731</c:v>
                </c:pt>
                <c:pt idx="1">
                  <c:v>7290851</c:v>
                </c:pt>
              </c:numCache>
            </c:numRef>
          </c:bubbleSize>
          <c:bubble3D val="0"/>
          <c:extLst>
            <c:ext xmlns:c15="http://schemas.microsoft.com/office/drawing/2012/chart" uri="{02D57815-91ED-43cb-92C2-25804820EDAC}">
              <c15:datalabelsRange>
                <c15:f>Sheet1!$E$2:$E$10</c15:f>
                <c15:dlblRangeCache>
                  <c:ptCount val="9"/>
                  <c:pt idx="0">
                    <c:v>Eucerin</c:v>
                  </c:pt>
                  <c:pt idx="1">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47"/>
          <c:min val="54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48D3B61-041E-43EF-B1F2-BBC236187B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7B51294-FCE9-4D93-8AF1-83C8466BA2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33649F2-1FFB-4C0A-BF6B-91CAB67BB3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8B3E547-0103-4DD9-A8DD-8923E30E8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A45E403-A536-4325-98E5-572C04D636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B003D75-0CD3-4F19-AC38-877C4D4D6F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4B8017F-B78D-474F-9409-A7FFADE0DA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CA30374-C79B-4FBF-8AC8-B54B6C275D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42.57839999999999</c:v>
                </c:pt>
                <c:pt idx="1">
                  <c:v>623.33420000000001</c:v>
                </c:pt>
                <c:pt idx="2">
                  <c:v>744.73800000000006</c:v>
                </c:pt>
                <c:pt idx="3">
                  <c:v>675.7758</c:v>
                </c:pt>
                <c:pt idx="4">
                  <c:v>505.11149999999998</c:v>
                </c:pt>
                <c:pt idx="5">
                  <c:v>594.25900000000001</c:v>
                </c:pt>
                <c:pt idx="6">
                  <c:v>418.52390000000003</c:v>
                </c:pt>
                <c:pt idx="7">
                  <c:v>839.40419999999995</c:v>
                </c:pt>
                <c:pt idx="8">
                  <c:v>735.56859999999995</c:v>
                </c:pt>
              </c:numCache>
            </c:numRef>
          </c:xVal>
          <c:yVal>
            <c:numRef>
              <c:f>Sheet1!$B$2:$B$10</c:f>
              <c:numCache>
                <c:formatCode>General</c:formatCode>
                <c:ptCount val="9"/>
                <c:pt idx="0">
                  <c:v>1.2210000000000001</c:v>
                </c:pt>
                <c:pt idx="1">
                  <c:v>1.478</c:v>
                </c:pt>
                <c:pt idx="2">
                  <c:v>1.4079999999999999</c:v>
                </c:pt>
                <c:pt idx="3">
                  <c:v>0.78300000000000003</c:v>
                </c:pt>
                <c:pt idx="4">
                  <c:v>0.78900000000000003</c:v>
                </c:pt>
                <c:pt idx="5">
                  <c:v>0.47899999999999998</c:v>
                </c:pt>
                <c:pt idx="6">
                  <c:v>0.67500000000000004</c:v>
                </c:pt>
                <c:pt idx="7">
                  <c:v>0.84299999999999997</c:v>
                </c:pt>
                <c:pt idx="8">
                  <c:v>0.73899999999999999</c:v>
                </c:pt>
              </c:numCache>
            </c:numRef>
          </c:yVal>
          <c:bubbleSize>
            <c:numRef>
              <c:f>Sheet1!$C$2:$C$10</c:f>
              <c:numCache>
                <c:formatCode>General</c:formatCode>
                <c:ptCount val="9"/>
                <c:pt idx="0">
                  <c:v>26871382</c:v>
                </c:pt>
                <c:pt idx="1">
                  <c:v>18994862</c:v>
                </c:pt>
                <c:pt idx="2">
                  <c:v>11537481</c:v>
                </c:pt>
                <c:pt idx="3">
                  <c:v>10352210</c:v>
                </c:pt>
                <c:pt idx="4">
                  <c:v>9773403</c:v>
                </c:pt>
                <c:pt idx="5">
                  <c:v>8609624</c:v>
                </c:pt>
                <c:pt idx="6">
                  <c:v>3404692</c:v>
                </c:pt>
                <c:pt idx="7">
                  <c:v>2900981</c:v>
                </c:pt>
                <c:pt idx="8">
                  <c:v>2762060</c:v>
                </c:pt>
              </c:numCache>
            </c:numRef>
          </c:bubbleSize>
          <c:bubble3D val="0"/>
          <c:extLst>
            <c:ext xmlns:c15="http://schemas.microsoft.com/office/drawing/2012/chart" uri="{02D57815-91ED-43cb-92C2-25804820EDAC}">
              <c15:datalabelsRange>
                <c15:f>Sheet1!$E$2:$E$10</c15:f>
                <c15:dlblRangeCache>
                  <c:ptCount val="9"/>
                  <c:pt idx="0">
                    <c:v>Loreal Paris</c:v>
                  </c:pt>
                  <c:pt idx="1">
                    <c:v>Isdin</c:v>
                  </c:pt>
                  <c:pt idx="2">
                    <c:v>La Roche-Posay</c:v>
                  </c:pt>
                  <c:pt idx="3">
                    <c:v>Eucerin</c:v>
                  </c:pt>
                  <c:pt idx="4">
                    <c:v>Cetaphil</c:v>
                  </c:pt>
                  <c:pt idx="5">
                    <c:v>Avene</c:v>
                  </c:pt>
                  <c:pt idx="6">
                    <c:v>Eclipsol</c:v>
                  </c:pt>
                  <c:pt idx="7">
                    <c:v>Photoderm</c:v>
                  </c:pt>
                  <c:pt idx="8">
                    <c:v>Vich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07"/>
          <c:min val="19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6FFF124-E6DE-4BEC-B1DB-A5BFEE51C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5B31D17-C8E8-4D0D-878D-83A6F58D5E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9D1128C-4D9E-463B-844A-40B3ED6A54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C0B8D63-15EA-4DAA-8E86-97AA8E4ED2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08824E8-B96F-4AE3-B3B8-A5BA85832C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D83FD6C-BE96-45A0-999C-7376D701B0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C229298-5327-4F99-92E1-B7EDD5543B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AF72687-2C54-4687-9D34-F555C428DD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614.44690000000003</c:v>
                </c:pt>
                <c:pt idx="1">
                  <c:v>287.61689999999999</c:v>
                </c:pt>
                <c:pt idx="2">
                  <c:v>624.47</c:v>
                </c:pt>
              </c:numCache>
            </c:numRef>
          </c:xVal>
          <c:yVal>
            <c:numRef>
              <c:f>Sheet1!$B$2:$B$4</c:f>
              <c:numCache>
                <c:formatCode>General</c:formatCode>
                <c:ptCount val="3"/>
                <c:pt idx="0">
                  <c:v>0.77100000000000002</c:v>
                </c:pt>
                <c:pt idx="1">
                  <c:v>1.331</c:v>
                </c:pt>
                <c:pt idx="2">
                  <c:v>1.23</c:v>
                </c:pt>
              </c:numCache>
            </c:numRef>
          </c:yVal>
          <c:bubbleSize>
            <c:numRef>
              <c:f>Sheet1!$C$2:$C$4</c:f>
              <c:numCache>
                <c:formatCode>General</c:formatCode>
                <c:ptCount val="3"/>
                <c:pt idx="0">
                  <c:v>6626810</c:v>
                </c:pt>
                <c:pt idx="1">
                  <c:v>4484235</c:v>
                </c:pt>
                <c:pt idx="2">
                  <c:v>4388775</c:v>
                </c:pt>
              </c:numCache>
            </c:numRef>
          </c:bubbleSize>
          <c:bubble3D val="0"/>
          <c:extLst>
            <c:ext xmlns:c15="http://schemas.microsoft.com/office/drawing/2012/chart" uri="{02D57815-91ED-43cb-92C2-25804820EDAC}">
              <c15:datalabelsRange>
                <c15:f>Sheet1!$E$2:$E$10</c15:f>
                <c15:dlblRangeCache>
                  <c:ptCount val="9"/>
                  <c:pt idx="0">
                    <c:v>Isdin</c:v>
                  </c:pt>
                  <c:pt idx="1">
                    <c:v>Eclipsol</c:v>
                  </c:pt>
                  <c:pt idx="2">
                    <c:v>La Roche-Posa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49"/>
          <c:min val="2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FD467A4-514D-4313-B2C6-28F7150866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D75C060-4A96-4C5A-84E8-233C27BBCA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84B76A5-126F-4F43-8F4B-4C72EC42FC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81834A5-231D-4BEE-8067-E4E22C9F8C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EF5D7F6-142B-4A73-B413-C4D5125B3F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4B6367E-B07A-4158-AF80-F39F42E129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71B32EE-1108-4084-AC23-F3F2E106F6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4BA219D-1B39-46A8-B7FC-1B9F9F03DB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721.28530000000001</c:v>
                </c:pt>
                <c:pt idx="1">
                  <c:v>975.346</c:v>
                </c:pt>
                <c:pt idx="2">
                  <c:v>605.37639999999999</c:v>
                </c:pt>
              </c:numCache>
            </c:numRef>
          </c:xVal>
          <c:yVal>
            <c:numRef>
              <c:f>Sheet1!$B$2:$B$4</c:f>
              <c:numCache>
                <c:formatCode>General</c:formatCode>
                <c:ptCount val="3"/>
                <c:pt idx="0">
                  <c:v>0.90300000000000002</c:v>
                </c:pt>
                <c:pt idx="1">
                  <c:v>1.6779999999999999</c:v>
                </c:pt>
                <c:pt idx="2">
                  <c:v>1.673</c:v>
                </c:pt>
              </c:numCache>
            </c:numRef>
          </c:yVal>
          <c:bubbleSize>
            <c:numRef>
              <c:f>Sheet1!$C$2:$C$4</c:f>
              <c:numCache>
                <c:formatCode>General</c:formatCode>
                <c:ptCount val="3"/>
                <c:pt idx="0">
                  <c:v>24116173</c:v>
                </c:pt>
                <c:pt idx="1">
                  <c:v>4087675</c:v>
                </c:pt>
                <c:pt idx="2">
                  <c:v>2301641</c:v>
                </c:pt>
              </c:numCache>
            </c:numRef>
          </c:bubbleSize>
          <c:bubble3D val="0"/>
          <c:extLst>
            <c:ext xmlns:c15="http://schemas.microsoft.com/office/drawing/2012/chart" uri="{02D57815-91ED-43cb-92C2-25804820EDAC}">
              <c15:datalabelsRange>
                <c15:f>Sheet1!$E$2:$E$10</c15:f>
                <c15:dlblRangeCache>
                  <c:ptCount val="9"/>
                  <c:pt idx="0">
                    <c:v>Photoderm</c:v>
                  </c:pt>
                  <c:pt idx="1">
                    <c:v>La Roche-Posay</c:v>
                  </c:pt>
                  <c:pt idx="2">
                    <c:v>Genov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70"/>
          <c:min val="48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A612FEA-395B-4B3B-8F01-8FF0FCADFC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9DC47579-AD9E-41ED-B735-1A4CFDF547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7C7E5DD-BC2C-4AEB-8F10-34C93636FF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DD9B848-8023-49EB-946E-D8C4DD27CD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87B5325-E290-465B-B8FE-7460D2CCDE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A3E7208-BF7A-4EFB-9AE1-54FAD0C30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1D0289C-E501-43B8-93F2-9CFDF23A57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5B7C52A-148A-4F45-9096-172D943695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475.40699999999998</c:v>
                </c:pt>
              </c:numCache>
            </c:numRef>
          </c:xVal>
          <c:yVal>
            <c:numRef>
              <c:f>Sheet1!$B$2:$B$2</c:f>
              <c:numCache>
                <c:formatCode>General</c:formatCode>
                <c:ptCount val="1"/>
                <c:pt idx="0">
                  <c:v>0.998</c:v>
                </c:pt>
              </c:numCache>
            </c:numRef>
          </c:yVal>
          <c:bubbleSize>
            <c:numRef>
              <c:f>Sheet1!$C$2:$C$2</c:f>
              <c:numCache>
                <c:formatCode>General</c:formatCode>
                <c:ptCount val="1"/>
                <c:pt idx="0">
                  <c:v>36576861</c:v>
                </c:pt>
              </c:numCache>
            </c:numRef>
          </c:bubbleSize>
          <c:bubble3D val="0"/>
          <c:extLst>
            <c:ext xmlns:c15="http://schemas.microsoft.com/office/drawing/2012/chart" uri="{02D57815-91ED-43cb-92C2-25804820EDAC}">
              <c15:datalabelsRange>
                <c15:f>Sheet1!$E$2:$E$10</c15:f>
                <c15:dlblRangeCache>
                  <c:ptCount val="9"/>
                  <c:pt idx="0">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70"/>
          <c:min val="3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D028239-E7C9-4EDA-8100-BD1FE6A65F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5C9F7D8-0FAB-4EE1-AC30-5371F0E767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5D0DD07-DD61-4D6A-B636-DAAA603D9D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A0FE9CB-E56B-495B-A666-A88C835A56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C664B89-64FF-4A46-A5AC-96CE983E6E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DF708E1-90C4-45AD-AA4C-6A133FC541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E9D8352-1AC1-4EBB-90A3-103E8A4486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808E1E6-CE84-4A18-9A28-592BCAAC3C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621.58029999999997</c:v>
                </c:pt>
                <c:pt idx="1">
                  <c:v>605.30100000000004</c:v>
                </c:pt>
                <c:pt idx="2">
                  <c:v>681.07219999999995</c:v>
                </c:pt>
                <c:pt idx="3">
                  <c:v>711.79589999999996</c:v>
                </c:pt>
                <c:pt idx="4">
                  <c:v>284.08139999999997</c:v>
                </c:pt>
                <c:pt idx="5">
                  <c:v>629.3922</c:v>
                </c:pt>
                <c:pt idx="6">
                  <c:v>251.63939999999999</c:v>
                </c:pt>
                <c:pt idx="7">
                  <c:v>742.15970000000004</c:v>
                </c:pt>
                <c:pt idx="8">
                  <c:v>194.42529999999999</c:v>
                </c:pt>
              </c:numCache>
            </c:numRef>
          </c:xVal>
          <c:yVal>
            <c:numRef>
              <c:f>Sheet1!$B$2:$B$10</c:f>
              <c:numCache>
                <c:formatCode>General</c:formatCode>
                <c:ptCount val="9"/>
                <c:pt idx="0">
                  <c:v>1.6619999999999999</c:v>
                </c:pt>
                <c:pt idx="1">
                  <c:v>2.8319999999999999</c:v>
                </c:pt>
                <c:pt idx="2">
                  <c:v>2.4380000000000002</c:v>
                </c:pt>
                <c:pt idx="3">
                  <c:v>2.125</c:v>
                </c:pt>
                <c:pt idx="4">
                  <c:v>0.52900000000000003</c:v>
                </c:pt>
                <c:pt idx="5">
                  <c:v>3.0310000000000001</c:v>
                </c:pt>
                <c:pt idx="6">
                  <c:v>0.31</c:v>
                </c:pt>
                <c:pt idx="7">
                  <c:v>2.1539999999999999</c:v>
                </c:pt>
                <c:pt idx="8">
                  <c:v>0.30099999999999999</c:v>
                </c:pt>
              </c:numCache>
            </c:numRef>
          </c:yVal>
          <c:bubbleSize>
            <c:numRef>
              <c:f>Sheet1!$C$2:$C$10</c:f>
              <c:numCache>
                <c:formatCode>General</c:formatCode>
                <c:ptCount val="9"/>
                <c:pt idx="0">
                  <c:v>452020654</c:v>
                </c:pt>
                <c:pt idx="1">
                  <c:v>303187392</c:v>
                </c:pt>
                <c:pt idx="2">
                  <c:v>204970054</c:v>
                </c:pt>
                <c:pt idx="3">
                  <c:v>196500511</c:v>
                </c:pt>
                <c:pt idx="4">
                  <c:v>188092032</c:v>
                </c:pt>
                <c:pt idx="5">
                  <c:v>105982088</c:v>
                </c:pt>
                <c:pt idx="6">
                  <c:v>104768549</c:v>
                </c:pt>
                <c:pt idx="7">
                  <c:v>99522130</c:v>
                </c:pt>
                <c:pt idx="8">
                  <c:v>99479662</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Eucerin</c:v>
                  </c:pt>
                  <c:pt idx="3">
                    <c:v>Avene</c:v>
                  </c:pt>
                  <c:pt idx="4">
                    <c:v>Nivea</c:v>
                  </c:pt>
                  <c:pt idx="5">
                    <c:v>Heliocare</c:v>
                  </c:pt>
                  <c:pt idx="6">
                    <c:v>Hawaiian Tropic</c:v>
                  </c:pt>
                  <c:pt idx="7">
                    <c:v>Photoderm</c:v>
                  </c:pt>
                  <c:pt idx="8">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1"/>
          <c:min val="15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9175A1-B639-4A4C-9EC1-D1ED93B19C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3C48233-6CC6-4424-966D-D3488223F7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20D990D-CCEA-4440-82F8-8CFA93CBF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E61B2C5-F817-4D37-B5D4-B5C61A0A67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75060E2-509F-47A1-B36D-82B0BE7E46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3DB849A-8868-47D1-8C2E-CD4D682BD1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EBBAAF2-2CCD-4625-818C-3CE3E43E08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D30C4A8-355E-4D83-95F1-84A4EBF0DD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54.5727</c:v>
                </c:pt>
                <c:pt idx="1">
                  <c:v>74.708699999999993</c:v>
                </c:pt>
              </c:numCache>
            </c:numRef>
          </c:xVal>
          <c:yVal>
            <c:numRef>
              <c:f>Sheet1!$B$2:$B$3</c:f>
              <c:numCache>
                <c:formatCode>General</c:formatCode>
                <c:ptCount val="2"/>
                <c:pt idx="0">
                  <c:v>1.2230000000000001</c:v>
                </c:pt>
                <c:pt idx="1">
                  <c:v>0.69299999999999995</c:v>
                </c:pt>
              </c:numCache>
            </c:numRef>
          </c:yVal>
          <c:bubbleSize>
            <c:numRef>
              <c:f>Sheet1!$C$2:$C$3</c:f>
              <c:numCache>
                <c:formatCode>General</c:formatCode>
                <c:ptCount val="2"/>
                <c:pt idx="0">
                  <c:v>53404764</c:v>
                </c:pt>
                <c:pt idx="1">
                  <c:v>20489297</c:v>
                </c:pt>
              </c:numCache>
            </c:numRef>
          </c:bubbleSize>
          <c:bubble3D val="0"/>
          <c:extLst>
            <c:ext xmlns:c15="http://schemas.microsoft.com/office/drawing/2012/chart" uri="{02D57815-91ED-43cb-92C2-25804820EDAC}">
              <c15:datalabelsRange>
                <c15:f>Sheet1!$E$2:$E$10</c15:f>
                <c15:dlblRangeCache>
                  <c:ptCount val="9"/>
                  <c:pt idx="0">
                    <c:v>Banana Boat</c:v>
                  </c:pt>
                  <c:pt idx="1">
                    <c:v>Caribbean Bea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5"/>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90960D-9E98-4A56-B8BE-D9F66E2E4F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5549D48-0FD6-42D8-8770-46FEF2BBBE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E33473F-1177-4C12-BBC7-A8602D6C22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26F66D3-698C-40E0-BAF9-D04048FAB9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3E580BF-0818-46A9-A7DE-8A78868DD6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55C4C5B-6346-4A9D-B7DC-14ACA7E9EA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A3D05FE-9BE0-4BF1-A0C4-C57A608445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F0F07E9-3F8C-40DB-BF4F-233C369B68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01.1328</c:v>
                </c:pt>
                <c:pt idx="1">
                  <c:v>276.9074</c:v>
                </c:pt>
              </c:numCache>
            </c:numRef>
          </c:xVal>
          <c:yVal>
            <c:numRef>
              <c:f>Sheet1!$B$2:$B$3</c:f>
              <c:numCache>
                <c:formatCode>General</c:formatCode>
                <c:ptCount val="2"/>
                <c:pt idx="0">
                  <c:v>0.97399999999999998</c:v>
                </c:pt>
                <c:pt idx="1">
                  <c:v>1.0740000000000001</c:v>
                </c:pt>
              </c:numCache>
            </c:numRef>
          </c:yVal>
          <c:bubbleSize>
            <c:numRef>
              <c:f>Sheet1!$C$2:$C$3</c:f>
              <c:numCache>
                <c:formatCode>General</c:formatCode>
                <c:ptCount val="2"/>
                <c:pt idx="0">
                  <c:v>77253107</c:v>
                </c:pt>
                <c:pt idx="1">
                  <c:v>30236346</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32"/>
          <c:min val="16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8ED7D3C-805C-4485-905E-F8BCAE7846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7C92CE83-B1BC-417B-92D3-358B6F6C07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90AFEBE-CAFF-4B34-80E7-BC9ADA8A3F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AA11972-73F1-4212-BFCB-7983728AF2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3388BD3-FD23-41AB-BDCD-C942A47938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466BDEB-1D8E-4398-9B5A-98A0E040EC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7810BFD-D53E-4FE9-B816-D45BEF47F7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9F4EE51-4417-41D1-8B98-80BA3392CC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90.02770000000001</c:v>
                </c:pt>
              </c:numCache>
            </c:numRef>
          </c:xVal>
          <c:yVal>
            <c:numRef>
              <c:f>Sheet1!$B$2:$B$2</c:f>
              <c:numCache>
                <c:formatCode>General</c:formatCode>
                <c:ptCount val="1"/>
                <c:pt idx="0">
                  <c:v>1.008</c:v>
                </c:pt>
              </c:numCache>
            </c:numRef>
          </c:yVal>
          <c:bubbleSize>
            <c:numRef>
              <c:f>Sheet1!$C$2:$C$2</c:f>
              <c:numCache>
                <c:formatCode>General</c:formatCode>
                <c:ptCount val="1"/>
                <c:pt idx="0">
                  <c:v>31788031</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8"/>
          <c:min val="15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4204609-0A63-45EA-88A4-DBB6F6DDC0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BC1E78B4-4ADC-4756-88ED-6BE5C5C7FF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5651D0C-C44A-4970-B490-C4177D1CFC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54D485C-62BA-4F8A-BCA8-9D512E4037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619D624-AB5C-4980-BD31-CA4769114D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37EA226-110B-4D7D-BD0F-23EE784960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2C726D6-1341-4C03-A25E-7E7C554FBE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D1667DF-AA91-47E0-9AD0-AD765BB1AF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7.893</c:v>
                </c:pt>
              </c:numCache>
            </c:numRef>
          </c:xVal>
          <c:yVal>
            <c:numRef>
              <c:f>Sheet1!$B$2:$B$2</c:f>
              <c:numCache>
                <c:formatCode>General</c:formatCode>
                <c:ptCount val="1"/>
                <c:pt idx="0">
                  <c:v>1</c:v>
                </c:pt>
              </c:numCache>
            </c:numRef>
          </c:yVal>
          <c:bubbleSize>
            <c:numRef>
              <c:f>Sheet1!$C$2:$C$2</c:f>
              <c:numCache>
                <c:formatCode>General</c:formatCode>
                <c:ptCount val="1"/>
                <c:pt idx="0">
                  <c:v>1674786</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9"/>
          <c:min val="16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889B63D-8EA7-45F6-8204-E58894DF4E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4E87B60-7CE6-463D-A509-C9896B21DD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E3812A8-1042-479F-B344-016643B4D1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7F5EFA1-83BA-40BF-8DD8-D31118B429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711E299-2030-4687-B428-2250861E8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1968B1E-6D2D-4C9D-8885-3B5549850C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2671853-C6CB-4C54-AC70-A68CABE98E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08B959E-FAB0-439D-A316-F97B1CE27C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08.25069999999999</c:v>
                </c:pt>
                <c:pt idx="1">
                  <c:v>390.87819999999999</c:v>
                </c:pt>
                <c:pt idx="2">
                  <c:v>316.08710000000002</c:v>
                </c:pt>
              </c:numCache>
            </c:numRef>
          </c:xVal>
          <c:yVal>
            <c:numRef>
              <c:f>Sheet1!$B$2:$B$4</c:f>
              <c:numCache>
                <c:formatCode>General</c:formatCode>
                <c:ptCount val="3"/>
                <c:pt idx="0">
                  <c:v>0.61299999999999999</c:v>
                </c:pt>
                <c:pt idx="1">
                  <c:v>2.3250000000000002</c:v>
                </c:pt>
                <c:pt idx="2">
                  <c:v>2.12</c:v>
                </c:pt>
              </c:numCache>
            </c:numRef>
          </c:yVal>
          <c:bubbleSize>
            <c:numRef>
              <c:f>Sheet1!$C$2:$C$4</c:f>
              <c:numCache>
                <c:formatCode>General</c:formatCode>
                <c:ptCount val="3"/>
                <c:pt idx="0">
                  <c:v>792602</c:v>
                </c:pt>
                <c:pt idx="1">
                  <c:v>599998</c:v>
                </c:pt>
                <c:pt idx="2">
                  <c:v>319248</c:v>
                </c:pt>
              </c:numCache>
            </c:numRef>
          </c:bubbleSize>
          <c:bubble3D val="0"/>
          <c:extLst>
            <c:ext xmlns:c15="http://schemas.microsoft.com/office/drawing/2012/chart" uri="{02D57815-91ED-43cb-92C2-25804820EDAC}">
              <c15:datalabelsRange>
                <c15:f>Sheet1!$E$2:$E$10</c15:f>
                <c15:dlblRangeCache>
                  <c:ptCount val="9"/>
                  <c:pt idx="0">
                    <c:v>Banana Boat</c:v>
                  </c:pt>
                  <c:pt idx="1">
                    <c:v>Australian Gold</c:v>
                  </c:pt>
                  <c:pt idx="2">
                    <c:v>Ocean Po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9"/>
          <c:min val="16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30DB408-C91A-48E9-9112-D522D0B5B0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547AC2DD-C717-4A4C-9776-56A550D524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4231F83-00B2-4736-85C8-99EF95E578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C1FD85E-BD08-4A6D-962C-EF6509885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72BD6C4-DCE5-414D-8894-4792D4F498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E4D105C-566D-4BB3-A364-C075B368CA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3390214-D09E-4EB0-8E84-81BC9395B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ACB69A8-5FF8-4856-9D56-1CE6FE3615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550.43579999999997</c:v>
                </c:pt>
              </c:numCache>
            </c:numRef>
          </c:xVal>
          <c:yVal>
            <c:numRef>
              <c:f>Sheet1!$B$2:$B$2</c:f>
              <c:numCache>
                <c:formatCode>General</c:formatCode>
                <c:ptCount val="1"/>
                <c:pt idx="0">
                  <c:v>1</c:v>
                </c:pt>
              </c:numCache>
            </c:numRef>
          </c:yVal>
          <c:bubbleSize>
            <c:numRef>
              <c:f>Sheet1!$C$2:$C$2</c:f>
              <c:numCache>
                <c:formatCode>General</c:formatCode>
                <c:ptCount val="1"/>
                <c:pt idx="0">
                  <c:v>12639657</c:v>
                </c:pt>
              </c:numCache>
            </c:numRef>
          </c:bubbleSize>
          <c:bubble3D val="0"/>
          <c:extLst>
            <c:ext xmlns:c15="http://schemas.microsoft.com/office/drawing/2012/chart" uri="{02D57815-91ED-43cb-92C2-25804820EDAC}">
              <c15:datalabelsRange>
                <c15:f>Sheet1!$E$2:$E$10</c15:f>
                <c15:dlblRangeCache>
                  <c:ptCount val="9"/>
                  <c:pt idx="0">
                    <c:v>Helio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1"/>
          <c:min val="4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6BE7245-F024-4B01-AF8F-32F384E664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4FA8C28-0FF6-47FB-976A-60E1D72BBD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F34B82B-6DE0-4100-8A17-A800DC8255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1DE8474-C7BE-4989-9074-191784AD9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3CB763E-0F30-4BB2-8986-97A6921841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8076F91-94F7-439C-8FD4-D9B1AB91C5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6C74DB3-284A-4FA8-9EA6-C2DE66ED49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8FAF813-4C3C-4759-A0F2-F8F82EDD76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57.71620000000001</c:v>
                </c:pt>
                <c:pt idx="1">
                  <c:v>247.16579999999999</c:v>
                </c:pt>
                <c:pt idx="2">
                  <c:v>84.560900000000004</c:v>
                </c:pt>
                <c:pt idx="3">
                  <c:v>241.02350000000001</c:v>
                </c:pt>
                <c:pt idx="4">
                  <c:v>75.1477</c:v>
                </c:pt>
                <c:pt idx="5">
                  <c:v>188.10210000000001</c:v>
                </c:pt>
              </c:numCache>
            </c:numRef>
          </c:xVal>
          <c:yVal>
            <c:numRef>
              <c:f>Sheet1!$B$2:$B$7</c:f>
              <c:numCache>
                <c:formatCode>General</c:formatCode>
                <c:ptCount val="6"/>
                <c:pt idx="0">
                  <c:v>1.82</c:v>
                </c:pt>
                <c:pt idx="1">
                  <c:v>0.84399999999999997</c:v>
                </c:pt>
                <c:pt idx="2">
                  <c:v>0.47799999999999998</c:v>
                </c:pt>
                <c:pt idx="3">
                  <c:v>0.78500000000000003</c:v>
                </c:pt>
                <c:pt idx="4">
                  <c:v>0.45300000000000001</c:v>
                </c:pt>
                <c:pt idx="5">
                  <c:v>3.4319999999999999</c:v>
                </c:pt>
              </c:numCache>
            </c:numRef>
          </c:yVal>
          <c:bubbleSize>
            <c:numRef>
              <c:f>Sheet1!$C$2:$C$7</c:f>
              <c:numCache>
                <c:formatCode>General</c:formatCode>
                <c:ptCount val="6"/>
                <c:pt idx="0">
                  <c:v>293211158</c:v>
                </c:pt>
                <c:pt idx="1">
                  <c:v>100232388</c:v>
                </c:pt>
                <c:pt idx="2">
                  <c:v>56357441</c:v>
                </c:pt>
                <c:pt idx="3">
                  <c:v>39291884</c:v>
                </c:pt>
                <c:pt idx="4">
                  <c:v>28495790</c:v>
                </c:pt>
                <c:pt idx="5">
                  <c:v>27380143</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Caribbean Beach</c:v>
                  </c:pt>
                  <c:pt idx="3">
                    <c:v>Banana Boat</c:v>
                  </c:pt>
                  <c:pt idx="4">
                    <c:v>Nuvel</c:v>
                  </c:pt>
                  <c:pt idx="5">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9"/>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5C28EF1-BF56-4197-9F33-8C5964A8CD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EB11E75-06AC-4213-AADE-EC0AF337DA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1AA9F54-962C-4C93-8CF6-2301505B1D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411892C-49AC-4C98-8D63-DFC6DBB96A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E503866-15C3-465B-ACE5-F636E0EBE9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B0B7D2B-A246-480B-BE02-90E69F5C74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2800F61-06F9-49A8-A9B0-DB1AB0FAE4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C5F8FCC-B201-4B6F-A434-FAC30D4E2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62.49939999999998</c:v>
                </c:pt>
                <c:pt idx="1">
                  <c:v>272.35610000000003</c:v>
                </c:pt>
              </c:numCache>
            </c:numRef>
          </c:xVal>
          <c:yVal>
            <c:numRef>
              <c:f>Sheet1!$B$2:$B$3</c:f>
              <c:numCache>
                <c:formatCode>General</c:formatCode>
                <c:ptCount val="2"/>
                <c:pt idx="0">
                  <c:v>1.004</c:v>
                </c:pt>
                <c:pt idx="1">
                  <c:v>0.88200000000000001</c:v>
                </c:pt>
              </c:numCache>
            </c:numRef>
          </c:yVal>
          <c:bubbleSize>
            <c:numRef>
              <c:f>Sheet1!$C$2:$C$3</c:f>
              <c:numCache>
                <c:formatCode>General</c:formatCode>
                <c:ptCount val="2"/>
                <c:pt idx="0">
                  <c:v>16499925</c:v>
                </c:pt>
                <c:pt idx="1">
                  <c:v>714390</c:v>
                </c:pt>
              </c:numCache>
            </c:numRef>
          </c:bubbleSize>
          <c:bubble3D val="0"/>
          <c:extLst>
            <c:ext xmlns:c15="http://schemas.microsoft.com/office/drawing/2012/chart" uri="{02D57815-91ED-43cb-92C2-25804820EDAC}">
              <c15:datalabelsRange>
                <c15:f>Sheet1!$E$2:$E$10</c15:f>
                <c15:dlblRangeCache>
                  <c:ptCount val="9"/>
                  <c:pt idx="0">
                    <c:v>Nivea</c:v>
                  </c:pt>
                  <c:pt idx="1">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7"/>
          <c:min val="2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15802C5-1065-41B1-8D2D-D36351359A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AF72CD55-C0A6-4213-A303-B47322DB29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231FE11-5AD1-4D60-977E-2E17009BEF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F5D7EE7-3EFA-4D07-8D53-47BEB34D79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11DC206-6F9F-4470-9F97-D6DED324E9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236E38C-417C-47D1-A830-F16098BCB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0D6D123-F434-446F-997F-543440C14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4A6F32B-0AF2-4D44-B452-9D71CF6F79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74.19709999999998</c:v>
                </c:pt>
              </c:numCache>
            </c:numRef>
          </c:xVal>
          <c:yVal>
            <c:numRef>
              <c:f>Sheet1!$B$2:$B$2</c:f>
              <c:numCache>
                <c:formatCode>General</c:formatCode>
                <c:ptCount val="1"/>
                <c:pt idx="0">
                  <c:v>0.996</c:v>
                </c:pt>
              </c:numCache>
            </c:numRef>
          </c:yVal>
          <c:bubbleSize>
            <c:numRef>
              <c:f>Sheet1!$C$2:$C$2</c:f>
              <c:numCache>
                <c:formatCode>General</c:formatCode>
                <c:ptCount val="1"/>
                <c:pt idx="0">
                  <c:v>121560916</c:v>
                </c:pt>
              </c:numCache>
            </c:numRef>
          </c:bubbleSize>
          <c:bubble3D val="0"/>
          <c:extLst>
            <c:ext xmlns:c15="http://schemas.microsoft.com/office/drawing/2012/chart" uri="{02D57815-91ED-43cb-92C2-25804820EDAC}">
              <c15:datalabelsRange>
                <c15:f>Sheet1!$E$2:$E$10</c15:f>
                <c15:dlblRangeCache>
                  <c:ptCount val="9"/>
                  <c:pt idx="0">
                    <c:v>Nive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9"/>
          <c:min val="2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12756DA-20E9-4E78-83B2-6EE2F5181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7F98058-2743-4E11-B418-FAA31F8C29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165B819-0092-4A02-A592-8A85B9E760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9B38887-FA7D-4CFD-BB4E-4E86333346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9418DF6-C80B-4F6A-A3A8-8E8736C6C2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D492A17-AD69-4B0D-932D-E048417F7B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024BC50-0F64-449A-8E8B-ED8B884654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44FE9C0-9ADD-41C5-B97B-25A4685676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39.16470000000001</c:v>
                </c:pt>
                <c:pt idx="1">
                  <c:v>212.50139999999999</c:v>
                </c:pt>
                <c:pt idx="2">
                  <c:v>167.70750000000001</c:v>
                </c:pt>
                <c:pt idx="3">
                  <c:v>208.48599999999999</c:v>
                </c:pt>
              </c:numCache>
            </c:numRef>
          </c:xVal>
          <c:yVal>
            <c:numRef>
              <c:f>Sheet1!$B$2:$B$5</c:f>
              <c:numCache>
                <c:formatCode>General</c:formatCode>
                <c:ptCount val="4"/>
                <c:pt idx="0">
                  <c:v>0.97799999999999998</c:v>
                </c:pt>
                <c:pt idx="1">
                  <c:v>0.89800000000000002</c:v>
                </c:pt>
                <c:pt idx="2">
                  <c:v>0.90500000000000003</c:v>
                </c:pt>
                <c:pt idx="3">
                  <c:v>2.9</c:v>
                </c:pt>
              </c:numCache>
            </c:numRef>
          </c:yVal>
          <c:bubbleSize>
            <c:numRef>
              <c:f>Sheet1!$C$2:$C$5</c:f>
              <c:numCache>
                <c:formatCode>General</c:formatCode>
                <c:ptCount val="4"/>
                <c:pt idx="0">
                  <c:v>281719220</c:v>
                </c:pt>
                <c:pt idx="1">
                  <c:v>163269308</c:v>
                </c:pt>
                <c:pt idx="2">
                  <c:v>69681814</c:v>
                </c:pt>
                <c:pt idx="3">
                  <c:v>12989092</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7"/>
          <c:min val="13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01AD9D7-EED2-433F-8484-B47F7D5F9F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8550D57-9E1B-4C9E-89DD-AC47D6FFF0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B6E8A96-88D9-4FEC-9F4A-1B27D6B82A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FC10E65-3D23-434B-A8FC-85B929195D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DA77F5A-599B-47F8-A590-0217885A2B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D025CCB-8E99-485A-B367-5C3B5F7409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8DD4277-3FCD-495E-B9C3-31C5FBA53F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8FE8A82-FDB3-422D-BE96-7A45932651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16.23769999999999</c:v>
                </c:pt>
                <c:pt idx="1">
                  <c:v>451.89089999999999</c:v>
                </c:pt>
                <c:pt idx="2">
                  <c:v>209.54249999999999</c:v>
                </c:pt>
                <c:pt idx="3">
                  <c:v>158.24529999999999</c:v>
                </c:pt>
                <c:pt idx="4">
                  <c:v>80.124899999999997</c:v>
                </c:pt>
                <c:pt idx="5">
                  <c:v>96.877300000000005</c:v>
                </c:pt>
                <c:pt idx="6">
                  <c:v>291.05380000000002</c:v>
                </c:pt>
              </c:numCache>
            </c:numRef>
          </c:xVal>
          <c:yVal>
            <c:numRef>
              <c:f>Sheet1!$B$2:$B$8</c:f>
              <c:numCache>
                <c:formatCode>General</c:formatCode>
                <c:ptCount val="7"/>
                <c:pt idx="0">
                  <c:v>1.33</c:v>
                </c:pt>
                <c:pt idx="1">
                  <c:v>3.661</c:v>
                </c:pt>
                <c:pt idx="2">
                  <c:v>0.90200000000000002</c:v>
                </c:pt>
                <c:pt idx="3">
                  <c:v>0.66800000000000004</c:v>
                </c:pt>
                <c:pt idx="4">
                  <c:v>0.49399999999999999</c:v>
                </c:pt>
                <c:pt idx="5">
                  <c:v>0.61699999999999999</c:v>
                </c:pt>
                <c:pt idx="6">
                  <c:v>1.7809999999999999</c:v>
                </c:pt>
              </c:numCache>
            </c:numRef>
          </c:yVal>
          <c:bubbleSize>
            <c:numRef>
              <c:f>Sheet1!$C$2:$C$8</c:f>
              <c:numCache>
                <c:formatCode>General</c:formatCode>
                <c:ptCount val="7"/>
                <c:pt idx="0">
                  <c:v>8697512</c:v>
                </c:pt>
                <c:pt idx="1">
                  <c:v>2920119</c:v>
                </c:pt>
                <c:pt idx="2">
                  <c:v>2109674</c:v>
                </c:pt>
                <c:pt idx="3">
                  <c:v>1330843</c:v>
                </c:pt>
                <c:pt idx="4">
                  <c:v>1209966</c:v>
                </c:pt>
                <c:pt idx="5">
                  <c:v>1076307</c:v>
                </c:pt>
                <c:pt idx="6">
                  <c:v>400490</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Banana Boat</c:v>
                  </c:pt>
                  <c:pt idx="3">
                    <c:v>Hawaiian Tropic</c:v>
                  </c:pt>
                  <c:pt idx="4">
                    <c:v>Caribbean Beach</c:v>
                  </c:pt>
                  <c:pt idx="5">
                    <c:v>Nuvel</c:v>
                  </c:pt>
                  <c:pt idx="6">
                    <c:v>Eclipso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2"/>
          <c:min val="6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D62188E-9CE8-448B-B73D-8E461FAAAB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F9A9754-F138-4BB1-BFA5-A4E92635DC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78216A0-E4AC-4D81-8122-335986F68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EE0935A-9DA0-425E-A93D-D57000E546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2E76BA0-0479-4DD0-A11C-D11A97D084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CD9BB03-A42F-4155-89EE-9EA8A9C752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71A9484-77FA-4ACA-8A91-E7B70CEFF2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B115632-3C5D-4334-9DB6-44AB125581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64.9982</c:v>
                </c:pt>
                <c:pt idx="1">
                  <c:v>417.04509999999999</c:v>
                </c:pt>
              </c:numCache>
            </c:numRef>
          </c:xVal>
          <c:yVal>
            <c:numRef>
              <c:f>Sheet1!$B$2:$B$3</c:f>
              <c:numCache>
                <c:formatCode>General</c:formatCode>
                <c:ptCount val="2"/>
                <c:pt idx="0">
                  <c:v>0.96</c:v>
                </c:pt>
                <c:pt idx="1">
                  <c:v>5.7969999999999997</c:v>
                </c:pt>
              </c:numCache>
            </c:numRef>
          </c:yVal>
          <c:bubbleSize>
            <c:numRef>
              <c:f>Sheet1!$C$2:$C$3</c:f>
              <c:numCache>
                <c:formatCode>General</c:formatCode>
                <c:ptCount val="2"/>
                <c:pt idx="0">
                  <c:v>61261761</c:v>
                </c:pt>
                <c:pt idx="1">
                  <c:v>2959352</c:v>
                </c:pt>
              </c:numCache>
            </c:numRef>
          </c:bubbleSize>
          <c:bubble3D val="0"/>
          <c:extLst>
            <c:ext xmlns:c15="http://schemas.microsoft.com/office/drawing/2012/chart" uri="{02D57815-91ED-43cb-92C2-25804820EDAC}">
              <c15:datalabelsRange>
                <c15:f>Sheet1!$E$2:$E$10</c15:f>
                <c15:dlblRangeCache>
                  <c:ptCount val="9"/>
                  <c:pt idx="0">
                    <c:v>Banana Boat</c:v>
                  </c:pt>
                  <c:pt idx="1">
                    <c:v>Muste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00"/>
          <c:min val="21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F48FCBD-CE5A-4238-BC63-2526A6CBD8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96E81521-98C9-420A-8673-11A5DFC7C7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F1C6639-F817-42D7-AB2F-271D00F5CB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859DB09-3C83-4C72-ABC1-C7A5C2DBD8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863A486-2D67-4CFF-9B16-483B0CC77A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CE84E09-1801-48B5-AF40-DF791AA44F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21092B7-5DE6-450F-A8F6-328549F155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0F2C11B-9F78-4504-B95E-7814652DFD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5.0504</c:v>
                </c:pt>
              </c:numCache>
            </c:numRef>
          </c:xVal>
          <c:yVal>
            <c:numRef>
              <c:f>Sheet1!$B$2:$B$2</c:f>
              <c:numCache>
                <c:formatCode>General</c:formatCode>
                <c:ptCount val="1"/>
                <c:pt idx="0">
                  <c:v>1</c:v>
                </c:pt>
              </c:numCache>
            </c:numRef>
          </c:yVal>
          <c:bubbleSize>
            <c:numRef>
              <c:f>Sheet1!$C$2:$C$2</c:f>
              <c:numCache>
                <c:formatCode>General</c:formatCode>
                <c:ptCount val="1"/>
                <c:pt idx="0">
                  <c:v>1562689</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6"/>
          <c:min val="16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E62371E-6C28-488E-84CA-456B6086F0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3762C25F-0403-423A-A3CF-254CF09408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E252282-61D4-46BC-9037-BEFDE98052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83DE84E-F464-4681-931A-D03BDC8CD1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757569B-581B-4C39-882C-72EA76FE4B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53C0D20-AA65-4B0D-9D19-E305C1BA0F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6B517FB-F8B0-48C2-BC01-6C5253D62F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DBF5B03-C99D-49BC-9313-2B7DDDDDE4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4.5033</c:v>
                </c:pt>
              </c:numCache>
            </c:numRef>
          </c:xVal>
          <c:yVal>
            <c:numRef>
              <c:f>Sheet1!$B$2:$B$2</c:f>
              <c:numCache>
                <c:formatCode>General</c:formatCode>
                <c:ptCount val="1"/>
                <c:pt idx="0">
                  <c:v>0.92800000000000005</c:v>
                </c:pt>
              </c:numCache>
            </c:numRef>
          </c:yVal>
          <c:bubbleSize>
            <c:numRef>
              <c:f>Sheet1!$C$2:$C$2</c:f>
              <c:numCache>
                <c:formatCode>General</c:formatCode>
                <c:ptCount val="1"/>
                <c:pt idx="0">
                  <c:v>13053599</c:v>
                </c:pt>
              </c:numCache>
            </c:numRef>
          </c:bubbleSize>
          <c:bubble3D val="0"/>
          <c:extLst>
            <c:ext xmlns:c15="http://schemas.microsoft.com/office/drawing/2012/chart" uri="{02D57815-91ED-43cb-92C2-25804820EDAC}">
              <c15:datalabelsRange>
                <c15:f>Sheet1!$E$2:$E$10</c15:f>
                <c15:dlblRangeCache>
                  <c:ptCount val="9"/>
                  <c:pt idx="0">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7"/>
          <c:min val="17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D74A5F5-C2CD-4690-AAFF-F3DE4258D1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B5AFCE2-2974-407B-A0EC-650057C245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FC3F05E-2F84-4598-9A57-DB11B88530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D1E2D2A-03C0-403C-8C72-59AC4EFB38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4F4C4F5-42AC-417E-8781-675843A4F2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58B8C39-4B53-4390-8460-70AB954AA8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3ACF15D-49FB-4662-A948-7AF7C6771F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FCD6F68-591C-431E-8260-61C35DFF9E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73.11759999999998</c:v>
                </c:pt>
                <c:pt idx="1">
                  <c:v>351.66789999999997</c:v>
                </c:pt>
                <c:pt idx="2">
                  <c:v>322.3177</c:v>
                </c:pt>
                <c:pt idx="3">
                  <c:v>410.1413</c:v>
                </c:pt>
              </c:numCache>
            </c:numRef>
          </c:xVal>
          <c:yVal>
            <c:numRef>
              <c:f>Sheet1!$B$2:$B$5</c:f>
              <c:numCache>
                <c:formatCode>General</c:formatCode>
                <c:ptCount val="4"/>
                <c:pt idx="0">
                  <c:v>0.55500000000000005</c:v>
                </c:pt>
                <c:pt idx="1">
                  <c:v>1.9970000000000001</c:v>
                </c:pt>
                <c:pt idx="2">
                  <c:v>2.2029999999999998</c:v>
                </c:pt>
                <c:pt idx="3">
                  <c:v>2.89</c:v>
                </c:pt>
              </c:numCache>
            </c:numRef>
          </c:yVal>
          <c:bubbleSize>
            <c:numRef>
              <c:f>Sheet1!$C$2:$C$5</c:f>
              <c:numCache>
                <c:formatCode>General</c:formatCode>
                <c:ptCount val="4"/>
                <c:pt idx="0">
                  <c:v>2219627</c:v>
                </c:pt>
                <c:pt idx="1">
                  <c:v>2139196</c:v>
                </c:pt>
                <c:pt idx="2">
                  <c:v>871547</c:v>
                </c:pt>
                <c:pt idx="3">
                  <c:v>191536</c:v>
                </c:pt>
              </c:numCache>
            </c:numRef>
          </c:bubbleSize>
          <c:bubble3D val="0"/>
          <c:extLst>
            <c:ext xmlns:c15="http://schemas.microsoft.com/office/drawing/2012/chart" uri="{02D57815-91ED-43cb-92C2-25804820EDAC}">
              <c15:datalabelsRange>
                <c15:f>Sheet1!$E$2:$E$10</c15:f>
                <c15:dlblRangeCache>
                  <c:ptCount val="9"/>
                  <c:pt idx="0">
                    <c:v>Banana Boat</c:v>
                  </c:pt>
                  <c:pt idx="1">
                    <c:v>Australian Gold</c:v>
                  </c:pt>
                  <c:pt idx="2">
                    <c:v>Ocean Potion</c:v>
                  </c:pt>
                  <c:pt idx="3">
                    <c:v>Muste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2"/>
          <c:min val="2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77EBC46-5CCE-4BD3-9A9D-EFA761E792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17726322-55F5-49E3-8AD4-08A25C0CC1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337556B-7BB9-434D-8CB9-1DF4875448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2D9022A-A92C-422E-9DEA-E1D0F70D0D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484BF4E-30FE-4CED-9A1C-12A5EF02AB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C2E6898-4597-4EA9-8E27-25721F59F1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28990C4-A7F5-4976-AD57-4032CD8326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B7FC642-84BA-4478-B37D-B6153A23F8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51.44110000000001</c:v>
                </c:pt>
              </c:numCache>
            </c:numRef>
          </c:xVal>
          <c:yVal>
            <c:numRef>
              <c:f>Sheet1!$B$2:$B$2</c:f>
              <c:numCache>
                <c:formatCode>General</c:formatCode>
                <c:ptCount val="1"/>
                <c:pt idx="0">
                  <c:v>0.38600000000000001</c:v>
                </c:pt>
              </c:numCache>
            </c:numRef>
          </c:yVal>
          <c:bubbleSize>
            <c:numRef>
              <c:f>Sheet1!$C$2:$C$2</c:f>
              <c:numCache>
                <c:formatCode>General</c:formatCode>
                <c:ptCount val="1"/>
                <c:pt idx="0">
                  <c:v>2155740</c:v>
                </c:pt>
              </c:numCache>
            </c:numRef>
          </c:bubbleSize>
          <c:bubble3D val="0"/>
          <c:extLst>
            <c:ext xmlns:c15="http://schemas.microsoft.com/office/drawing/2012/chart" uri="{02D57815-91ED-43cb-92C2-25804820EDAC}">
              <c15:datalabelsRange>
                <c15:f>Sheet1!$E$2:$E$10</c15:f>
                <c15:dlblRangeCache>
                  <c:ptCount val="9"/>
                  <c:pt idx="0">
                    <c:v>Neutrogen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2"/>
          <c:min val="28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F0BCC2-A336-46E4-9356-600883EDA5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B303666-E877-4FBC-9339-1E7F15D3CB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46548E8-73B9-4651-B6FD-A82C8877CA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2806E77-E750-4352-B3CF-4DCC1E7770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0A9D53B-F094-4E09-AE53-30155F1CAF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9E6E624-3544-4348-8EAB-3546B1EAD1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EBE5B4B-B91B-4876-9B25-78A4FAA5D8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C96AC44-1B99-43B2-82FE-6E944F4293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637.73310000000004</c:v>
                </c:pt>
                <c:pt idx="1">
                  <c:v>558.16319999999996</c:v>
                </c:pt>
                <c:pt idx="2">
                  <c:v>711.97400000000005</c:v>
                </c:pt>
                <c:pt idx="3">
                  <c:v>704.71749999999997</c:v>
                </c:pt>
              </c:numCache>
            </c:numRef>
          </c:xVal>
          <c:yVal>
            <c:numRef>
              <c:f>Sheet1!$B$2:$B$5</c:f>
              <c:numCache>
                <c:formatCode>General</c:formatCode>
                <c:ptCount val="4"/>
                <c:pt idx="0">
                  <c:v>0.78500000000000003</c:v>
                </c:pt>
                <c:pt idx="1">
                  <c:v>1.597</c:v>
                </c:pt>
                <c:pt idx="2">
                  <c:v>2.6349999999999998</c:v>
                </c:pt>
                <c:pt idx="3">
                  <c:v>0.86599999999999999</c:v>
                </c:pt>
              </c:numCache>
            </c:numRef>
          </c:yVal>
          <c:bubbleSize>
            <c:numRef>
              <c:f>Sheet1!$C$2:$C$5</c:f>
              <c:numCache>
                <c:formatCode>General</c:formatCode>
                <c:ptCount val="4"/>
                <c:pt idx="0">
                  <c:v>29178838</c:v>
                </c:pt>
                <c:pt idx="1">
                  <c:v>28021467</c:v>
                </c:pt>
                <c:pt idx="2">
                  <c:v>3774174</c:v>
                </c:pt>
                <c:pt idx="3">
                  <c:v>3737117</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Vichy</c:v>
                  </c:pt>
                  <c:pt idx="3">
                    <c:v>Helio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4"/>
          <c:min val="44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CC9FDF0-54E3-4EE2-B102-CDE0511599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179A51B-71F9-4C54-AC2A-CD595DA4B3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095C5A9-3900-43F8-A5AD-201975BDD3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4CD33D6-01D2-4B0E-8476-CF6B183750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3EA1ADC-7B97-49B4-8E83-7A1759FB83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7BC5053-D08B-4C7F-AABE-21B1739F34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14E8A6C-5ED7-4AC9-BF4D-1A0188A61B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5BB9166-46F8-4ACB-A82D-E9D9F87E30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618.10490000000004</c:v>
                </c:pt>
                <c:pt idx="1">
                  <c:v>301.66059999999999</c:v>
                </c:pt>
                <c:pt idx="2">
                  <c:v>659.26099999999997</c:v>
                </c:pt>
                <c:pt idx="3">
                  <c:v>703.88639999999998</c:v>
                </c:pt>
                <c:pt idx="4">
                  <c:v>675.80600000000004</c:v>
                </c:pt>
                <c:pt idx="5">
                  <c:v>753.60119999999995</c:v>
                </c:pt>
                <c:pt idx="6">
                  <c:v>726.53290000000004</c:v>
                </c:pt>
                <c:pt idx="7">
                  <c:v>628.62009999999998</c:v>
                </c:pt>
                <c:pt idx="8">
                  <c:v>346.98590000000002</c:v>
                </c:pt>
              </c:numCache>
            </c:numRef>
          </c:xVal>
          <c:yVal>
            <c:numRef>
              <c:f>Sheet1!$B$2:$B$10</c:f>
              <c:numCache>
                <c:formatCode>General</c:formatCode>
                <c:ptCount val="9"/>
                <c:pt idx="0">
                  <c:v>1.88</c:v>
                </c:pt>
                <c:pt idx="1">
                  <c:v>0.5</c:v>
                </c:pt>
                <c:pt idx="2">
                  <c:v>1.0740000000000001</c:v>
                </c:pt>
                <c:pt idx="3">
                  <c:v>1.2490000000000001</c:v>
                </c:pt>
                <c:pt idx="4">
                  <c:v>1.8420000000000001</c:v>
                </c:pt>
                <c:pt idx="5">
                  <c:v>0.80800000000000005</c:v>
                </c:pt>
                <c:pt idx="6">
                  <c:v>3.5819999999999999</c:v>
                </c:pt>
                <c:pt idx="7">
                  <c:v>1.9550000000000001</c:v>
                </c:pt>
                <c:pt idx="8">
                  <c:v>0.61899999999999999</c:v>
                </c:pt>
              </c:numCache>
            </c:numRef>
          </c:yVal>
          <c:bubbleSize>
            <c:numRef>
              <c:f>Sheet1!$C$2:$C$10</c:f>
              <c:numCache>
                <c:formatCode>General</c:formatCode>
                <c:ptCount val="9"/>
                <c:pt idx="0">
                  <c:v>293910122</c:v>
                </c:pt>
                <c:pt idx="1">
                  <c:v>158153722</c:v>
                </c:pt>
                <c:pt idx="2">
                  <c:v>134418054</c:v>
                </c:pt>
                <c:pt idx="3">
                  <c:v>93898444</c:v>
                </c:pt>
                <c:pt idx="4">
                  <c:v>92790193</c:v>
                </c:pt>
                <c:pt idx="5">
                  <c:v>48335230</c:v>
                </c:pt>
                <c:pt idx="6">
                  <c:v>46613626</c:v>
                </c:pt>
                <c:pt idx="7">
                  <c:v>45192131</c:v>
                </c:pt>
                <c:pt idx="8">
                  <c:v>24712335</c:v>
                </c:pt>
              </c:numCache>
            </c:numRef>
          </c:bubbleSize>
          <c:bubble3D val="0"/>
          <c:extLst>
            <c:ext xmlns:c15="http://schemas.microsoft.com/office/drawing/2012/chart" uri="{02D57815-91ED-43cb-92C2-25804820EDAC}">
              <c15:datalabelsRange>
                <c15:f>Sheet1!$E$2:$E$10</c15:f>
                <c15:dlblRangeCache>
                  <c:ptCount val="9"/>
                  <c:pt idx="0">
                    <c:v>Isdin</c:v>
                  </c:pt>
                  <c:pt idx="1">
                    <c:v>Neutrogena</c:v>
                  </c:pt>
                  <c:pt idx="2">
                    <c:v>Avene</c:v>
                  </c:pt>
                  <c:pt idx="3">
                    <c:v>Eucerin</c:v>
                  </c:pt>
                  <c:pt idx="4">
                    <c:v>La Roche-Posay</c:v>
                  </c:pt>
                  <c:pt idx="5">
                    <c:v>Vichy</c:v>
                  </c:pt>
                  <c:pt idx="6">
                    <c:v>Photoderm</c:v>
                  </c:pt>
                  <c:pt idx="7">
                    <c:v>Heliocare</c:v>
                  </c:pt>
                  <c:pt idx="8">
                    <c:v>Eclipso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04"/>
          <c:min val="24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DC34B3D-3763-4363-A93F-2B27EDF4E1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AC285E7-3883-4013-A185-5F57031D11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63AB81B-9D2E-4B28-87D6-6FFE197BDA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09F894D-EE94-45B6-B7C6-5F78F895D2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25CA27B-9108-4987-8B82-90A584F499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376F5C3-8DFB-41C3-852D-0CB0A2522E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AE0C510-5110-4821-AE25-B2019A75B9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B25B079-3527-4D07-A50A-86F9616C7B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18.98260000000005</c:v>
                </c:pt>
                <c:pt idx="1">
                  <c:v>632.22529999999995</c:v>
                </c:pt>
                <c:pt idx="2">
                  <c:v>747.31100000000004</c:v>
                </c:pt>
                <c:pt idx="3">
                  <c:v>640.42579999999998</c:v>
                </c:pt>
                <c:pt idx="4">
                  <c:v>596.89359999999999</c:v>
                </c:pt>
                <c:pt idx="5">
                  <c:v>600.24639999999999</c:v>
                </c:pt>
              </c:numCache>
            </c:numRef>
          </c:xVal>
          <c:yVal>
            <c:numRef>
              <c:f>Sheet1!$B$2:$B$7</c:f>
              <c:numCache>
                <c:formatCode>General</c:formatCode>
                <c:ptCount val="6"/>
                <c:pt idx="0">
                  <c:v>0.92200000000000004</c:v>
                </c:pt>
                <c:pt idx="1">
                  <c:v>0.95799999999999996</c:v>
                </c:pt>
                <c:pt idx="2">
                  <c:v>1.26</c:v>
                </c:pt>
                <c:pt idx="3">
                  <c:v>0.95399999999999996</c:v>
                </c:pt>
                <c:pt idx="4">
                  <c:v>0.89300000000000002</c:v>
                </c:pt>
                <c:pt idx="5">
                  <c:v>1.419</c:v>
                </c:pt>
              </c:numCache>
            </c:numRef>
          </c:yVal>
          <c:bubbleSize>
            <c:numRef>
              <c:f>Sheet1!$C$2:$C$7</c:f>
              <c:numCache>
                <c:formatCode>General</c:formatCode>
                <c:ptCount val="6"/>
                <c:pt idx="0">
                  <c:v>137352856</c:v>
                </c:pt>
                <c:pt idx="1">
                  <c:v>70816815</c:v>
                </c:pt>
                <c:pt idx="2">
                  <c:v>56541549</c:v>
                </c:pt>
                <c:pt idx="3">
                  <c:v>23466483</c:v>
                </c:pt>
                <c:pt idx="4">
                  <c:v>21588447</c:v>
                </c:pt>
                <c:pt idx="5">
                  <c:v>17920958</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Avene</c:v>
                  </c:pt>
                  <c:pt idx="3">
                    <c:v>Heliocare</c:v>
                  </c:pt>
                  <c:pt idx="4">
                    <c:v>Eucerin</c:v>
                  </c:pt>
                  <c:pt idx="5">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7"/>
          <c:min val="47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931B4D-5A65-4A44-A241-C4D560917E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570A538-8778-4AE4-B19E-32D0DF1163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2585D02-60B2-4965-92B8-1A2B874AF1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E791AC7-CFF1-43DC-B267-1437E99810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64EBB0C-6726-4B42-A5F0-6B71244BA5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CCA1FF5-F340-4D0A-85A8-EAB08E4E8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30104B8-3F1F-48B0-8911-49A9FEC9C1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FAF4E63-4786-42A7-8F87-D61C5BE890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32.08420000000001</c:v>
                </c:pt>
                <c:pt idx="1">
                  <c:v>632.31629999999996</c:v>
                </c:pt>
                <c:pt idx="2">
                  <c:v>582.01130000000001</c:v>
                </c:pt>
                <c:pt idx="3">
                  <c:v>663.69219999999996</c:v>
                </c:pt>
                <c:pt idx="4">
                  <c:v>752.56579999999997</c:v>
                </c:pt>
                <c:pt idx="5">
                  <c:v>511.63319999999999</c:v>
                </c:pt>
              </c:numCache>
            </c:numRef>
          </c:xVal>
          <c:yVal>
            <c:numRef>
              <c:f>Sheet1!$B$2:$B$7</c:f>
              <c:numCache>
                <c:formatCode>General</c:formatCode>
                <c:ptCount val="6"/>
                <c:pt idx="0">
                  <c:v>0.5</c:v>
                </c:pt>
                <c:pt idx="1">
                  <c:v>2.4620000000000002</c:v>
                </c:pt>
                <c:pt idx="2">
                  <c:v>2.2679999999999998</c:v>
                </c:pt>
                <c:pt idx="3">
                  <c:v>2.3769999999999998</c:v>
                </c:pt>
                <c:pt idx="4">
                  <c:v>5.3550000000000004</c:v>
                </c:pt>
                <c:pt idx="5">
                  <c:v>1</c:v>
                </c:pt>
              </c:numCache>
            </c:numRef>
          </c:yVal>
          <c:bubbleSize>
            <c:numRef>
              <c:f>Sheet1!$C$2:$C$7</c:f>
              <c:numCache>
                <c:formatCode>General</c:formatCode>
                <c:ptCount val="6"/>
                <c:pt idx="0">
                  <c:v>106368391</c:v>
                </c:pt>
                <c:pt idx="1">
                  <c:v>81286153</c:v>
                </c:pt>
                <c:pt idx="2">
                  <c:v>57202400</c:v>
                </c:pt>
                <c:pt idx="3">
                  <c:v>22137452</c:v>
                </c:pt>
                <c:pt idx="4">
                  <c:v>12419594</c:v>
                </c:pt>
                <c:pt idx="5">
                  <c:v>5839270</c:v>
                </c:pt>
              </c:numCache>
            </c:numRef>
          </c:bubbleSize>
          <c:bubble3D val="0"/>
          <c:extLst>
            <c:ext xmlns:c15="http://schemas.microsoft.com/office/drawing/2012/chart" uri="{02D57815-91ED-43cb-92C2-25804820EDAC}">
              <c15:datalabelsRange>
                <c15:f>Sheet1!$E$2:$E$10</c15:f>
                <c15:dlblRangeCache>
                  <c:ptCount val="9"/>
                  <c:pt idx="0">
                    <c:v>Isdin</c:v>
                  </c:pt>
                  <c:pt idx="1">
                    <c:v>Eucerin</c:v>
                  </c:pt>
                  <c:pt idx="2">
                    <c:v>La Roche-Posay</c:v>
                  </c:pt>
                  <c:pt idx="3">
                    <c:v>Heliocare</c:v>
                  </c:pt>
                  <c:pt idx="4">
                    <c:v>Photoderm</c:v>
                  </c:pt>
                  <c:pt idx="5">
                    <c:v>Cetaph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03"/>
          <c:min val="40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D2B4E8B-B22E-486C-8C66-10678CC18F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1C507D2-DA7C-48CF-9A1B-6C61325DD0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1FA835C-4650-45B1-91FD-689538417A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3EE2847-FAAC-40B3-A313-371AEDC496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A9ACE6F-D395-4ECA-B350-F623CD4117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D2578CB-838F-4019-9E34-A6C52225E9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A1DD4F5-F8B3-40F3-AC1B-C35E72D08E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A0BE27E-E732-4757-BAC7-CA6D1F1E91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687.48429999999996</c:v>
                </c:pt>
                <c:pt idx="1">
                  <c:v>824.6857</c:v>
                </c:pt>
              </c:numCache>
            </c:numRef>
          </c:xVal>
          <c:yVal>
            <c:numRef>
              <c:f>Sheet1!$B$2:$B$3</c:f>
              <c:numCache>
                <c:formatCode>General</c:formatCode>
                <c:ptCount val="2"/>
                <c:pt idx="0">
                  <c:v>0.879</c:v>
                </c:pt>
                <c:pt idx="1">
                  <c:v>2.84</c:v>
                </c:pt>
              </c:numCache>
            </c:numRef>
          </c:yVal>
          <c:bubbleSize>
            <c:numRef>
              <c:f>Sheet1!$C$2:$C$3</c:f>
              <c:numCache>
                <c:formatCode>General</c:formatCode>
                <c:ptCount val="2"/>
                <c:pt idx="0">
                  <c:v>34448463</c:v>
                </c:pt>
                <c:pt idx="1">
                  <c:v>7277027</c:v>
                </c:pt>
              </c:numCache>
            </c:numRef>
          </c:bubbleSize>
          <c:bubble3D val="0"/>
          <c:extLst>
            <c:ext xmlns:c15="http://schemas.microsoft.com/office/drawing/2012/chart" uri="{02D57815-91ED-43cb-92C2-25804820EDAC}">
              <c15:datalabelsRange>
                <c15:f>Sheet1!$E$2:$E$10</c15:f>
                <c15:dlblRangeCache>
                  <c:ptCount val="9"/>
                  <c:pt idx="0">
                    <c:v>Eucerin</c:v>
                  </c:pt>
                  <c:pt idx="1">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90"/>
          <c:min val="5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7AC5D7B-8B18-4044-93C3-F263FF2661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399243F-873B-4BFC-8A03-3BDD8F1E4F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912947E-BFB3-4DE7-B992-63678D1226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ACE9ABA-B6BA-4D77-86EE-96520CA4B5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AACA989-B117-4B2A-831B-B5F1FB03E7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50B55B0-0C59-45FE-9B1A-A8D5CB72FD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59FD78E-7B1B-4270-A466-876E6BFBF5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9ED5DBF-8FD7-412C-9DB6-5D4F51860F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41.13380000000001</c:v>
                </c:pt>
                <c:pt idx="1">
                  <c:v>209.15610000000001</c:v>
                </c:pt>
                <c:pt idx="2">
                  <c:v>222.7422</c:v>
                </c:pt>
                <c:pt idx="3">
                  <c:v>577.1653</c:v>
                </c:pt>
                <c:pt idx="4">
                  <c:v>289.72449999999998</c:v>
                </c:pt>
                <c:pt idx="5">
                  <c:v>84.481200000000001</c:v>
                </c:pt>
                <c:pt idx="6">
                  <c:v>506.83350000000002</c:v>
                </c:pt>
                <c:pt idx="7">
                  <c:v>566.1069</c:v>
                </c:pt>
                <c:pt idx="8">
                  <c:v>192.56129999999999</c:v>
                </c:pt>
              </c:numCache>
            </c:numRef>
          </c:xVal>
          <c:yVal>
            <c:numRef>
              <c:f>Sheet1!$B$2:$B$10</c:f>
              <c:numCache>
                <c:formatCode>General</c:formatCode>
                <c:ptCount val="9"/>
                <c:pt idx="0">
                  <c:v>1.038</c:v>
                </c:pt>
                <c:pt idx="1">
                  <c:v>0.746</c:v>
                </c:pt>
                <c:pt idx="2">
                  <c:v>0.72599999999999998</c:v>
                </c:pt>
                <c:pt idx="3">
                  <c:v>4.18</c:v>
                </c:pt>
                <c:pt idx="4">
                  <c:v>2.0569999999999999</c:v>
                </c:pt>
                <c:pt idx="5">
                  <c:v>0.41599999999999998</c:v>
                </c:pt>
                <c:pt idx="6">
                  <c:v>6.3529999999999998</c:v>
                </c:pt>
                <c:pt idx="7">
                  <c:v>4.9269999999999996</c:v>
                </c:pt>
                <c:pt idx="8">
                  <c:v>3.1059999999999999</c:v>
                </c:pt>
              </c:numCache>
            </c:numRef>
          </c:yVal>
          <c:bubbleSize>
            <c:numRef>
              <c:f>Sheet1!$C$2:$C$10</c:f>
              <c:numCache>
                <c:formatCode>General</c:formatCode>
                <c:ptCount val="9"/>
                <c:pt idx="0">
                  <c:v>536202668</c:v>
                </c:pt>
                <c:pt idx="1">
                  <c:v>269083052</c:v>
                </c:pt>
                <c:pt idx="2">
                  <c:v>215531333</c:v>
                </c:pt>
                <c:pt idx="3">
                  <c:v>108131910</c:v>
                </c:pt>
                <c:pt idx="4">
                  <c:v>102115148</c:v>
                </c:pt>
                <c:pt idx="5">
                  <c:v>62392994</c:v>
                </c:pt>
                <c:pt idx="6">
                  <c:v>50910918</c:v>
                </c:pt>
                <c:pt idx="7">
                  <c:v>41303159</c:v>
                </c:pt>
                <c:pt idx="8">
                  <c:v>30494965</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Isdin</c:v>
                  </c:pt>
                  <c:pt idx="4">
                    <c:v>Neutrogena</c:v>
                  </c:pt>
                  <c:pt idx="5">
                    <c:v>Caribbean Beach</c:v>
                  </c:pt>
                  <c:pt idx="6">
                    <c:v>La Roche-Posay</c:v>
                  </c:pt>
                  <c:pt idx="7">
                    <c:v>Eucerin</c:v>
                  </c:pt>
                  <c:pt idx="8">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
          <c:min val="6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97AEEC7-E64B-47CE-B3B0-60F08ECA8E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2209F72-EC32-4575-BADE-6CA2A417D7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6EBF0C1-D747-4B8B-ADCD-BC000C52D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5C1B69C-E9A7-410B-94C1-E406FA3C2D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FC81C42-740D-45D4-997D-4A06D43284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94340C1-F02E-4B3B-A7F3-1A3F405290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0333DB3-E3DC-46BE-B4D8-C79D198AB9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0F58E66-692D-4AAC-B425-B39F82BA41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43.03049999999999</c:v>
                </c:pt>
                <c:pt idx="1">
                  <c:v>628.96190000000001</c:v>
                </c:pt>
                <c:pt idx="2">
                  <c:v>804.16989999999998</c:v>
                </c:pt>
                <c:pt idx="3">
                  <c:v>700.29290000000003</c:v>
                </c:pt>
                <c:pt idx="4">
                  <c:v>516.58640000000003</c:v>
                </c:pt>
                <c:pt idx="5">
                  <c:v>603.49339999999995</c:v>
                </c:pt>
                <c:pt idx="6">
                  <c:v>447.51420000000002</c:v>
                </c:pt>
                <c:pt idx="7">
                  <c:v>888.16780000000006</c:v>
                </c:pt>
                <c:pt idx="8">
                  <c:v>781.02409999999998</c:v>
                </c:pt>
              </c:numCache>
            </c:numRef>
          </c:xVal>
          <c:yVal>
            <c:numRef>
              <c:f>Sheet1!$B$2:$B$10</c:f>
              <c:numCache>
                <c:formatCode>General</c:formatCode>
                <c:ptCount val="9"/>
                <c:pt idx="0">
                  <c:v>1.1970000000000001</c:v>
                </c:pt>
                <c:pt idx="1">
                  <c:v>1.46</c:v>
                </c:pt>
                <c:pt idx="2">
                  <c:v>1.514</c:v>
                </c:pt>
                <c:pt idx="3">
                  <c:v>0.78200000000000003</c:v>
                </c:pt>
                <c:pt idx="4">
                  <c:v>0.78400000000000003</c:v>
                </c:pt>
                <c:pt idx="5">
                  <c:v>0.46500000000000002</c:v>
                </c:pt>
                <c:pt idx="6">
                  <c:v>0.70399999999999996</c:v>
                </c:pt>
                <c:pt idx="7">
                  <c:v>0.879</c:v>
                </c:pt>
                <c:pt idx="8">
                  <c:v>0.81100000000000005</c:v>
                </c:pt>
              </c:numCache>
            </c:numRef>
          </c:yVal>
          <c:bubbleSize>
            <c:numRef>
              <c:f>Sheet1!$C$2:$C$10</c:f>
              <c:numCache>
                <c:formatCode>General</c:formatCode>
                <c:ptCount val="9"/>
                <c:pt idx="0">
                  <c:v>26487655</c:v>
                </c:pt>
                <c:pt idx="1">
                  <c:v>18058126</c:v>
                </c:pt>
                <c:pt idx="2">
                  <c:v>10496025</c:v>
                </c:pt>
                <c:pt idx="3">
                  <c:v>9653538</c:v>
                </c:pt>
                <c:pt idx="4">
                  <c:v>9608507</c:v>
                </c:pt>
                <c:pt idx="5">
                  <c:v>8407267</c:v>
                </c:pt>
                <c:pt idx="6">
                  <c:v>2911975</c:v>
                </c:pt>
                <c:pt idx="7">
                  <c:v>2900756</c:v>
                </c:pt>
                <c:pt idx="8">
                  <c:v>2753110</c:v>
                </c:pt>
              </c:numCache>
            </c:numRef>
          </c:bubbleSize>
          <c:bubble3D val="0"/>
          <c:extLst>
            <c:ext xmlns:c15="http://schemas.microsoft.com/office/drawing/2012/chart" uri="{02D57815-91ED-43cb-92C2-25804820EDAC}">
              <c15:datalabelsRange>
                <c15:f>Sheet1!$E$2:$E$10</c15:f>
                <c15:dlblRangeCache>
                  <c:ptCount val="9"/>
                  <c:pt idx="0">
                    <c:v>Loreal Paris</c:v>
                  </c:pt>
                  <c:pt idx="1">
                    <c:v>Isdin</c:v>
                  </c:pt>
                  <c:pt idx="2">
                    <c:v>La Roche-Posay</c:v>
                  </c:pt>
                  <c:pt idx="3">
                    <c:v>Eucerin</c:v>
                  </c:pt>
                  <c:pt idx="4">
                    <c:v>Cetaphil</c:v>
                  </c:pt>
                  <c:pt idx="5">
                    <c:v>Avene</c:v>
                  </c:pt>
                  <c:pt idx="6">
                    <c:v>Eclipsol</c:v>
                  </c:pt>
                  <c:pt idx="7">
                    <c:v>Photoderm</c:v>
                  </c:pt>
                  <c:pt idx="8">
                    <c:v>Vich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66"/>
          <c:min val="19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E50EB28-7E18-499A-BDB0-08065C2826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46C58A4-0294-4DE6-921B-3F457EC000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83139C6-447F-4467-920D-0AD918ED0C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6F7ACBF-AECD-4B9B-8C29-3CF7F20AFC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C73AF8C-00C5-4438-B5F9-102A894524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8261A68-CB05-4D16-8AE9-38B2E41C6E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B540FC9-D08F-49E8-96B7-C54D734317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214778C-5B5C-4E60-AC5A-B90CFF1D7E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636.27970000000005</c:v>
                </c:pt>
                <c:pt idx="1">
                  <c:v>654.95699999999999</c:v>
                </c:pt>
                <c:pt idx="2">
                  <c:v>300.2527</c:v>
                </c:pt>
              </c:numCache>
            </c:numRef>
          </c:xVal>
          <c:yVal>
            <c:numRef>
              <c:f>Sheet1!$B$2:$B$4</c:f>
              <c:numCache>
                <c:formatCode>General</c:formatCode>
                <c:ptCount val="3"/>
                <c:pt idx="0">
                  <c:v>0.754</c:v>
                </c:pt>
                <c:pt idx="1">
                  <c:v>1.286</c:v>
                </c:pt>
                <c:pt idx="2">
                  <c:v>1.379</c:v>
                </c:pt>
              </c:numCache>
            </c:numRef>
          </c:yVal>
          <c:bubbleSize>
            <c:numRef>
              <c:f>Sheet1!$C$2:$C$4</c:f>
              <c:numCache>
                <c:formatCode>General</c:formatCode>
                <c:ptCount val="3"/>
                <c:pt idx="0">
                  <c:v>6581041</c:v>
                </c:pt>
                <c:pt idx="1">
                  <c:v>4375768</c:v>
                </c:pt>
                <c:pt idx="2">
                  <c:v>4101452</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Eclipso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6"/>
          <c:min val="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3B90840-72CB-446D-9455-06ECDDCAC8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121ADFF-298C-4BAE-A14F-6346AE7195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3095881-7442-4E45-A462-3AC2B01846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B7DD4E2-63CF-454A-9390-889635CA9B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AE018BF-5B98-4121-AFDA-AB2612E680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341158E-F6A7-4A85-AFA7-A4C470DCE0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4B4A6DE-2335-427C-A954-8DCCCA7B0C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BBBCFA1-61AE-4D61-98A1-AFD1D4DB8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738.86839999999995</c:v>
                </c:pt>
                <c:pt idx="1">
                  <c:v>1043.2023999999999</c:v>
                </c:pt>
                <c:pt idx="2">
                  <c:v>636.08339999999998</c:v>
                </c:pt>
              </c:numCache>
            </c:numRef>
          </c:xVal>
          <c:yVal>
            <c:numRef>
              <c:f>Sheet1!$B$2:$B$4</c:f>
              <c:numCache>
                <c:formatCode>General</c:formatCode>
                <c:ptCount val="3"/>
                <c:pt idx="0">
                  <c:v>0.89600000000000002</c:v>
                </c:pt>
                <c:pt idx="1">
                  <c:v>1.7969999999999999</c:v>
                </c:pt>
                <c:pt idx="2">
                  <c:v>1.7050000000000001</c:v>
                </c:pt>
              </c:numCache>
            </c:numRef>
          </c:yVal>
          <c:bubbleSize>
            <c:numRef>
              <c:f>Sheet1!$C$2:$C$4</c:f>
              <c:numCache>
                <c:formatCode>General</c:formatCode>
                <c:ptCount val="3"/>
                <c:pt idx="0">
                  <c:v>23557341</c:v>
                </c:pt>
                <c:pt idx="1">
                  <c:v>4051798</c:v>
                </c:pt>
                <c:pt idx="2">
                  <c:v>2243466</c:v>
                </c:pt>
              </c:numCache>
            </c:numRef>
          </c:bubbleSize>
          <c:bubble3D val="0"/>
          <c:extLst>
            <c:ext xmlns:c15="http://schemas.microsoft.com/office/drawing/2012/chart" uri="{02D57815-91ED-43cb-92C2-25804820EDAC}">
              <c15:datalabelsRange>
                <c15:f>Sheet1!$E$2:$E$10</c15:f>
                <c15:dlblRangeCache>
                  <c:ptCount val="9"/>
                  <c:pt idx="0">
                    <c:v>Photoderm</c:v>
                  </c:pt>
                  <c:pt idx="1">
                    <c:v>La Roche-Posay</c:v>
                  </c:pt>
                  <c:pt idx="2">
                    <c:v>Genov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52"/>
          <c:min val="50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E402265-0797-4FD9-B0E6-66EA9DC7B2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7D0C330F-C1F4-44F9-8080-03A94DBF8D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88548C7-C18A-4865-8202-7135DA577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D16B0B4-302E-4995-8404-EFBE3296C9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39F5B90-FD65-4ADD-BE45-AF38D7A013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206CBD1-7FDA-40E0-A32B-8E498B5156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C6DA302-E010-4C19-8C2A-41E92CA939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730368C-A573-45AD-A25D-C23ECFCD53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480.52710000000002</c:v>
                </c:pt>
              </c:numCache>
            </c:numRef>
          </c:xVal>
          <c:yVal>
            <c:numRef>
              <c:f>Sheet1!$B$2:$B$2</c:f>
              <c:numCache>
                <c:formatCode>General</c:formatCode>
                <c:ptCount val="1"/>
                <c:pt idx="0">
                  <c:v>1</c:v>
                </c:pt>
              </c:numCache>
            </c:numRef>
          </c:yVal>
          <c:bubbleSize>
            <c:numRef>
              <c:f>Sheet1!$C$2:$C$2</c:f>
              <c:numCache>
                <c:formatCode>General</c:formatCode>
                <c:ptCount val="1"/>
                <c:pt idx="0">
                  <c:v>35235613</c:v>
                </c:pt>
              </c:numCache>
            </c:numRef>
          </c:bubbleSize>
          <c:bubble3D val="0"/>
          <c:extLst>
            <c:ext xmlns:c15="http://schemas.microsoft.com/office/drawing/2012/chart" uri="{02D57815-91ED-43cb-92C2-25804820EDAC}">
              <c15:datalabelsRange>
                <c15:f>Sheet1!$E$2:$E$10</c15:f>
                <c15:dlblRangeCache>
                  <c:ptCount val="9"/>
                  <c:pt idx="0">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77"/>
          <c:min val="38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42499FE-1186-417C-BBC4-050F84AAA7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1D7149-FDBA-4124-A7A1-F0DD2E841C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2615AA1-E584-4F46-A2A1-8C716764A9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521E912-5EDD-4CC6-820D-EB328D99DD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B0EDB80-DA4A-4E5B-844D-182A73200F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37916E4-44AE-4C54-B792-E8B19A3941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7863FFD-E4BE-4D9E-A3FA-C82848784F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0292E91-7C82-4880-837E-568CB9BEC1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57.81979999999999</c:v>
                </c:pt>
                <c:pt idx="1">
                  <c:v>75.912099999999995</c:v>
                </c:pt>
              </c:numCache>
            </c:numRef>
          </c:xVal>
          <c:yVal>
            <c:numRef>
              <c:f>Sheet1!$B$2:$B$3</c:f>
              <c:numCache>
                <c:formatCode>General</c:formatCode>
                <c:ptCount val="2"/>
                <c:pt idx="0">
                  <c:v>1.2210000000000001</c:v>
                </c:pt>
                <c:pt idx="1">
                  <c:v>0.68500000000000005</c:v>
                </c:pt>
              </c:numCache>
            </c:numRef>
          </c:yVal>
          <c:bubbleSize>
            <c:numRef>
              <c:f>Sheet1!$C$2:$C$3</c:f>
              <c:numCache>
                <c:formatCode>General</c:formatCode>
                <c:ptCount val="2"/>
                <c:pt idx="0">
                  <c:v>50721412</c:v>
                </c:pt>
                <c:pt idx="1">
                  <c:v>18676352</c:v>
                </c:pt>
              </c:numCache>
            </c:numRef>
          </c:bubbleSize>
          <c:bubble3D val="0"/>
          <c:extLst>
            <c:ext xmlns:c15="http://schemas.microsoft.com/office/drawing/2012/chart" uri="{02D57815-91ED-43cb-92C2-25804820EDAC}">
              <c15:datalabelsRange>
                <c15:f>Sheet1!$E$2:$E$10</c15:f>
                <c15:dlblRangeCache>
                  <c:ptCount val="9"/>
                  <c:pt idx="0">
                    <c:v>Banana Boat</c:v>
                  </c:pt>
                  <c:pt idx="1">
                    <c:v>Caribbean Bea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9"/>
          <c:min val="6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A69569B-A41B-4676-83C4-B201EF8C30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0F0F3E2-A195-46CA-8D5F-F7821C7957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AF353B9-8717-46C5-B027-36EEF36875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484166C-255D-4FEC-B47A-0950C59FC9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DB4D417-1ED4-4CD0-872E-7E5C2E33A3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AFAAC1F-508F-4470-8E40-9B99910F8B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4F4DD4D-E16D-415C-97F8-F0B520806A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E56B5D9-9A18-4455-A953-9176CC1BC2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02.13130000000001</c:v>
                </c:pt>
                <c:pt idx="1">
                  <c:v>277.94549999999998</c:v>
                </c:pt>
              </c:numCache>
            </c:numRef>
          </c:xVal>
          <c:yVal>
            <c:numRef>
              <c:f>Sheet1!$B$2:$B$3</c:f>
              <c:numCache>
                <c:formatCode>General</c:formatCode>
                <c:ptCount val="2"/>
                <c:pt idx="0">
                  <c:v>0.97499999999999998</c:v>
                </c:pt>
                <c:pt idx="1">
                  <c:v>1.0680000000000001</c:v>
                </c:pt>
              </c:numCache>
            </c:numRef>
          </c:yVal>
          <c:bubbleSize>
            <c:numRef>
              <c:f>Sheet1!$C$2:$C$3</c:f>
              <c:numCache>
                <c:formatCode>General</c:formatCode>
                <c:ptCount val="2"/>
                <c:pt idx="0">
                  <c:v>74697818</c:v>
                </c:pt>
                <c:pt idx="1">
                  <c:v>29684024</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34"/>
          <c:min val="16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0E1B87-E1EC-4E06-9DF8-21BA42FFDB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8E3072E9-020B-46F3-A05E-D3D12B2F40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FA75323-310C-48A7-9354-A2077D4E0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EB42BD1-7658-4DC6-92C3-7414018811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5DB35C1-6DFB-4FF5-A934-90FC014C32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F32180C-D703-4788-A4D1-DBC10F6E36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99D995B-0E60-48E1-90A5-9669E7B73C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4BCF78E-3F27-4B16-9D3E-A79FD0E2C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90.40649999999999</c:v>
                </c:pt>
              </c:numCache>
            </c:numRef>
          </c:xVal>
          <c:yVal>
            <c:numRef>
              <c:f>Sheet1!$B$2:$B$2</c:f>
              <c:numCache>
                <c:formatCode>General</c:formatCode>
                <c:ptCount val="1"/>
                <c:pt idx="0">
                  <c:v>0.995</c:v>
                </c:pt>
              </c:numCache>
            </c:numRef>
          </c:yVal>
          <c:bubbleSize>
            <c:numRef>
              <c:f>Sheet1!$C$2:$C$2</c:f>
              <c:numCache>
                <c:formatCode>General</c:formatCode>
                <c:ptCount val="1"/>
                <c:pt idx="0">
                  <c:v>31430026</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8"/>
          <c:min val="15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6FA86F2-46D5-4BED-9322-D31F46BD2F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9A117EF3-E59E-4CF3-87BF-59C76AB7D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580A29F-5A9B-42C8-8EEB-261936D296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85D8A10-CF1E-490A-AEDA-B920A28834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D7B8372-343E-462A-B14F-8AD73DB99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1193040-DFB3-4B6E-B97C-39DD8AF209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2E7AB55-879F-4267-A77B-D36BF25D6C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4A96AA1-ACB0-47E3-B237-1E6BC7E709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0.27610000000001</c:v>
                </c:pt>
              </c:numCache>
            </c:numRef>
          </c:xVal>
          <c:yVal>
            <c:numRef>
              <c:f>Sheet1!$B$2:$B$2</c:f>
              <c:numCache>
                <c:formatCode>General</c:formatCode>
                <c:ptCount val="1"/>
                <c:pt idx="0">
                  <c:v>1</c:v>
                </c:pt>
              </c:numCache>
            </c:numRef>
          </c:yVal>
          <c:bubbleSize>
            <c:numRef>
              <c:f>Sheet1!$C$2:$C$2</c:f>
              <c:numCache>
                <c:formatCode>General</c:formatCode>
                <c:ptCount val="1"/>
                <c:pt idx="0">
                  <c:v>1672957</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2"/>
          <c:min val="16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D6F4AC5-7CD8-4785-B4F1-9064794E8B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CDE5CDE-E146-41A9-9181-55F21C193A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333EAA5-E96F-41C3-B4FD-35169ABDB3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57B495B-115D-456F-91F3-B8A55A40A4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0640F16-B91A-4139-81F1-35A4AA9C08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A9FE15F-8F55-4ECC-BB53-644FAE6886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BCA09AB-3B1C-4A11-8C1C-B987897F3B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507DEBC-4D8A-4F95-A8B5-1BC577FD95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09.32509999999999</c:v>
                </c:pt>
                <c:pt idx="1">
                  <c:v>393.94940000000003</c:v>
                </c:pt>
                <c:pt idx="2">
                  <c:v>320.19260000000003</c:v>
                </c:pt>
              </c:numCache>
            </c:numRef>
          </c:xVal>
          <c:yVal>
            <c:numRef>
              <c:f>Sheet1!$B$2:$B$4</c:f>
              <c:numCache>
                <c:formatCode>General</c:formatCode>
                <c:ptCount val="3"/>
                <c:pt idx="0">
                  <c:v>0.60199999999999998</c:v>
                </c:pt>
                <c:pt idx="1">
                  <c:v>2.2109999999999999</c:v>
                </c:pt>
                <c:pt idx="2">
                  <c:v>2.2650000000000001</c:v>
                </c:pt>
              </c:numCache>
            </c:numRef>
          </c:yVal>
          <c:bubbleSize>
            <c:numRef>
              <c:f>Sheet1!$C$2:$C$4</c:f>
              <c:numCache>
                <c:formatCode>General</c:formatCode>
                <c:ptCount val="3"/>
                <c:pt idx="0">
                  <c:v>792505</c:v>
                </c:pt>
                <c:pt idx="1">
                  <c:v>599985</c:v>
                </c:pt>
                <c:pt idx="2">
                  <c:v>319232</c:v>
                </c:pt>
              </c:numCache>
            </c:numRef>
          </c:bubbleSize>
          <c:bubble3D val="0"/>
          <c:extLst>
            <c:ext xmlns:c15="http://schemas.microsoft.com/office/drawing/2012/chart" uri="{02D57815-91ED-43cb-92C2-25804820EDAC}">
              <c15:datalabelsRange>
                <c15:f>Sheet1!$E$2:$E$10</c15:f>
                <c15:dlblRangeCache>
                  <c:ptCount val="9"/>
                  <c:pt idx="0">
                    <c:v>Banana Boat</c:v>
                  </c:pt>
                  <c:pt idx="1">
                    <c:v>Australian Gold</c:v>
                  </c:pt>
                  <c:pt idx="2">
                    <c:v>Ocean Pot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73"/>
          <c:min val="16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BE8B906-1783-4507-811C-F06CC367D0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389B875A-7174-4964-B852-00A871A29C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835615A-6679-4C64-A06B-C624DDE919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2DC4DC9-76CD-4A6B-859E-278F803A26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0E11CE4-5A65-4522-A7B1-B784F2BC3D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459943B-F48F-418C-9094-50EF96DD2D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D0AF681-16D3-4A2B-868A-5DED45E5F0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60AF9D2-6A74-4B2F-BE7F-F1FFFA251C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555.99919999999997</c:v>
                </c:pt>
              </c:numCache>
            </c:numRef>
          </c:xVal>
          <c:yVal>
            <c:numRef>
              <c:f>Sheet1!$B$2:$B$2</c:f>
              <c:numCache>
                <c:formatCode>General</c:formatCode>
                <c:ptCount val="1"/>
                <c:pt idx="0">
                  <c:v>1</c:v>
                </c:pt>
              </c:numCache>
            </c:numRef>
          </c:yVal>
          <c:bubbleSize>
            <c:numRef>
              <c:f>Sheet1!$C$2:$C$2</c:f>
              <c:numCache>
                <c:formatCode>General</c:formatCode>
                <c:ptCount val="1"/>
                <c:pt idx="0">
                  <c:v>12520547</c:v>
                </c:pt>
              </c:numCache>
            </c:numRef>
          </c:bubbleSize>
          <c:bubble3D val="0"/>
          <c:extLst>
            <c:ext xmlns:c15="http://schemas.microsoft.com/office/drawing/2012/chart" uri="{02D57815-91ED-43cb-92C2-25804820EDAC}">
              <c15:datalabelsRange>
                <c15:f>Sheet1!$E$2:$E$10</c15:f>
                <c15:dlblRangeCache>
                  <c:ptCount val="9"/>
                  <c:pt idx="0">
                    <c:v>Helio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7"/>
          <c:min val="44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FBEBCE9-1290-4A95-8133-C87AECB6D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5AEAEB8-9655-4664-9CE3-3C4451DF96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9BF8B4A-F929-4E7E-A174-C907E9038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52D8C65-87B6-446A-8E99-A043437E3D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6E6B881-B401-46C8-AE4C-0827C3F669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48303AE-EEDA-4127-826F-F616D1FEB2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99898EA-9AB5-4D77-8D0F-284EAA2E16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6A8E5FE-D8DF-4620-8E6A-DD766891B4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50.78219999999999</c:v>
                </c:pt>
                <c:pt idx="1">
                  <c:v>613.25300000000004</c:v>
                </c:pt>
                <c:pt idx="2">
                  <c:v>619.50990000000002</c:v>
                </c:pt>
                <c:pt idx="3">
                  <c:v>217.92179999999999</c:v>
                </c:pt>
                <c:pt idx="4">
                  <c:v>219.85040000000001</c:v>
                </c:pt>
                <c:pt idx="5">
                  <c:v>655.54369999999994</c:v>
                </c:pt>
                <c:pt idx="6">
                  <c:v>667.63379999999995</c:v>
                </c:pt>
                <c:pt idx="7">
                  <c:v>301.56990000000002</c:v>
                </c:pt>
                <c:pt idx="8">
                  <c:v>625.82529999999997</c:v>
                </c:pt>
              </c:numCache>
            </c:numRef>
          </c:xVal>
          <c:yVal>
            <c:numRef>
              <c:f>Sheet1!$B$2:$B$10</c:f>
              <c:numCache>
                <c:formatCode>General</c:formatCode>
                <c:ptCount val="9"/>
                <c:pt idx="0">
                  <c:v>0.72199999999999998</c:v>
                </c:pt>
                <c:pt idx="1">
                  <c:v>2.7679999999999998</c:v>
                </c:pt>
                <c:pt idx="2">
                  <c:v>4.3280000000000003</c:v>
                </c:pt>
                <c:pt idx="3">
                  <c:v>0.499</c:v>
                </c:pt>
                <c:pt idx="4">
                  <c:v>0.51400000000000001</c:v>
                </c:pt>
                <c:pt idx="5">
                  <c:v>3.7610000000000001</c:v>
                </c:pt>
                <c:pt idx="6">
                  <c:v>3.2250000000000001</c:v>
                </c:pt>
                <c:pt idx="7">
                  <c:v>1.3660000000000001</c:v>
                </c:pt>
                <c:pt idx="8">
                  <c:v>4.8449999999999998</c:v>
                </c:pt>
              </c:numCache>
            </c:numRef>
          </c:yVal>
          <c:bubbleSize>
            <c:numRef>
              <c:f>Sheet1!$C$2:$C$10</c:f>
              <c:numCache>
                <c:formatCode>General</c:formatCode>
                <c:ptCount val="9"/>
                <c:pt idx="0">
                  <c:v>778226782</c:v>
                </c:pt>
                <c:pt idx="1">
                  <c:v>629447145</c:v>
                </c:pt>
                <c:pt idx="2">
                  <c:v>364879575</c:v>
                </c:pt>
                <c:pt idx="3">
                  <c:v>349000701</c:v>
                </c:pt>
                <c:pt idx="4">
                  <c:v>303068598</c:v>
                </c:pt>
                <c:pt idx="5">
                  <c:v>263235523</c:v>
                </c:pt>
                <c:pt idx="6">
                  <c:v>228911615</c:v>
                </c:pt>
                <c:pt idx="7">
                  <c:v>163043442</c:v>
                </c:pt>
                <c:pt idx="8">
                  <c:v>116991163</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La Roche-Posay</c:v>
                  </c:pt>
                  <c:pt idx="3">
                    <c:v>Hawaiian Tropic</c:v>
                  </c:pt>
                  <c:pt idx="4">
                    <c:v>Banana Boat</c:v>
                  </c:pt>
                  <c:pt idx="5">
                    <c:v>Eucerin</c:v>
                  </c:pt>
                  <c:pt idx="6">
                    <c:v>Avene</c:v>
                  </c:pt>
                  <c:pt idx="7">
                    <c:v>Neutrogena</c:v>
                  </c:pt>
                  <c:pt idx="8">
                    <c:v>Helio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01"/>
          <c:min val="17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84F35D0-E2ED-475D-911C-A8078A29B4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CD634150-C46D-4E86-81B2-FDD177574A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EEE4A12-B2AB-43EE-8BC6-848204502C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29AE43A-3E8E-4333-9F59-370B867811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0626FC3-8FE1-42CC-B237-3B85AB0308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BE0F163-C326-4CE6-82B2-17E2ACFF0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3F3DC96-13BD-4B97-B2F9-47F9715068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69DFDC7-BD04-4BD2-B514-E7E8FB2F9D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95.63639999999998</c:v>
                </c:pt>
              </c:numCache>
            </c:numRef>
          </c:xVal>
          <c:yVal>
            <c:numRef>
              <c:f>Sheet1!$B$2:$B$2</c:f>
              <c:numCache>
                <c:formatCode>General</c:formatCode>
                <c:ptCount val="1"/>
                <c:pt idx="0">
                  <c:v>2.0259999999999998</c:v>
                </c:pt>
              </c:numCache>
            </c:numRef>
          </c:yVal>
          <c:bubbleSize>
            <c:numRef>
              <c:f>Sheet1!$C$2:$C$2</c:f>
              <c:numCache>
                <c:formatCode>General</c:formatCode>
                <c:ptCount val="1"/>
                <c:pt idx="0">
                  <c:v>21760</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75"/>
          <c:min val="31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4F9972-D106-4E02-AE26-833215DF78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BC76161-7F8A-43DC-9BE5-9462AC2010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DDD6C90-063F-4ADA-849F-6A155DEDB1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31A1BEE-FF17-435C-AA9A-86BDF61E22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70A8EB6-342E-4B47-BDAC-359F01C26B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8567F9B-E8E0-497E-A403-82A67834E7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6DA15FC-AB4F-472A-9026-B8AEC69B1E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7617AB2-6A8B-4444-A697-83E31C68D2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08.18990000000002</c:v>
                </c:pt>
                <c:pt idx="1">
                  <c:v>274.72609999999997</c:v>
                </c:pt>
                <c:pt idx="2">
                  <c:v>69.441400000000002</c:v>
                </c:pt>
                <c:pt idx="3">
                  <c:v>281.73669999999998</c:v>
                </c:pt>
                <c:pt idx="4">
                  <c:v>195.4134</c:v>
                </c:pt>
                <c:pt idx="5">
                  <c:v>79.343900000000005</c:v>
                </c:pt>
              </c:numCache>
            </c:numRef>
          </c:xVal>
          <c:yVal>
            <c:numRef>
              <c:f>Sheet1!$B$2:$B$7</c:f>
              <c:numCache>
                <c:formatCode>General</c:formatCode>
                <c:ptCount val="6"/>
                <c:pt idx="0">
                  <c:v>2.036</c:v>
                </c:pt>
                <c:pt idx="1">
                  <c:v>0.70899999999999996</c:v>
                </c:pt>
                <c:pt idx="2">
                  <c:v>0.371</c:v>
                </c:pt>
                <c:pt idx="3">
                  <c:v>0.79500000000000004</c:v>
                </c:pt>
                <c:pt idx="4">
                  <c:v>2.9380000000000002</c:v>
                </c:pt>
                <c:pt idx="5">
                  <c:v>0.39300000000000002</c:v>
                </c:pt>
              </c:numCache>
            </c:numRef>
          </c:yVal>
          <c:bubbleSize>
            <c:numRef>
              <c:f>Sheet1!$C$2:$C$7</c:f>
              <c:numCache>
                <c:formatCode>General</c:formatCode>
                <c:ptCount val="6"/>
                <c:pt idx="0">
                  <c:v>76293336</c:v>
                </c:pt>
                <c:pt idx="1">
                  <c:v>27395964</c:v>
                </c:pt>
                <c:pt idx="2">
                  <c:v>10560365</c:v>
                </c:pt>
                <c:pt idx="3">
                  <c:v>7933143</c:v>
                </c:pt>
                <c:pt idx="4">
                  <c:v>6690760</c:v>
                </c:pt>
                <c:pt idx="5">
                  <c:v>4749286</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Caribbean Beach</c:v>
                  </c:pt>
                  <c:pt idx="3">
                    <c:v>Banana Boat</c:v>
                  </c:pt>
                  <c:pt idx="4">
                    <c:v>Garnier</c:v>
                  </c:pt>
                  <c:pt idx="5">
                    <c:v>Nuv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70"/>
          <c:min val="5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100471D-D9AE-4A8D-98C2-5DE406F32A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36047105-1F4E-4DB2-BAC8-84E354CB34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AA066CF-90F0-4E4B-A435-EBF7AEDB9C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C99F14E-88C8-4C91-9EDD-0C822FC38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9E99089-4886-4256-AD11-671338B4A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BED5239-264D-451D-BEED-E32A40B6DD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2CB58E6-8339-474C-93AD-8EE80A1B57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607A812-2DD3-469B-B52E-9A104118C0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13.48149999999998</c:v>
                </c:pt>
              </c:numCache>
            </c:numRef>
          </c:xVal>
          <c:yVal>
            <c:numRef>
              <c:f>Sheet1!$B$2:$B$2</c:f>
              <c:numCache>
                <c:formatCode>General</c:formatCode>
                <c:ptCount val="1"/>
                <c:pt idx="0">
                  <c:v>0.99299999999999999</c:v>
                </c:pt>
              </c:numCache>
            </c:numRef>
          </c:yVal>
          <c:bubbleSize>
            <c:numRef>
              <c:f>Sheet1!$C$2:$C$2</c:f>
              <c:numCache>
                <c:formatCode>General</c:formatCode>
                <c:ptCount val="1"/>
                <c:pt idx="0">
                  <c:v>5359907</c:v>
                </c:pt>
              </c:numCache>
            </c:numRef>
          </c:bubbleSize>
          <c:bubble3D val="0"/>
          <c:extLst>
            <c:ext xmlns:c15="http://schemas.microsoft.com/office/drawing/2012/chart" uri="{02D57815-91ED-43cb-92C2-25804820EDAC}">
              <c15:datalabelsRange>
                <c15:f>Sheet1!$E$2:$E$10</c15:f>
                <c15:dlblRangeCache>
                  <c:ptCount val="9"/>
                  <c:pt idx="0">
                    <c:v>Nive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76"/>
          <c:min val="25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0DE85A2-EA2A-4516-A051-3FF1C9D308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1C6A25F7-1E7A-46A6-BD7D-D3368FBBBB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70987B9-03A2-4E9C-99A1-2877B40403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64716EC-CE51-4773-B3F6-6741CC95E8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ED4144E-C361-4F83-85CC-9C767DD7C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F6B8C3B-3093-41A5-82C1-7B8F4490C6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5B53469-4D80-429D-973A-5A23F3C0BF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681B16A-3043-4100-B0F0-55FADEAE18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37.60390000000001</c:v>
                </c:pt>
              </c:numCache>
            </c:numRef>
          </c:xVal>
          <c:yVal>
            <c:numRef>
              <c:f>Sheet1!$B$2:$B$2</c:f>
              <c:numCache>
                <c:formatCode>General</c:formatCode>
                <c:ptCount val="1"/>
                <c:pt idx="0">
                  <c:v>0.98399999999999999</c:v>
                </c:pt>
              </c:numCache>
            </c:numRef>
          </c:yVal>
          <c:bubbleSize>
            <c:numRef>
              <c:f>Sheet1!$C$2:$C$2</c:f>
              <c:numCache>
                <c:formatCode>General</c:formatCode>
                <c:ptCount val="1"/>
                <c:pt idx="0">
                  <c:v>30352613</c:v>
                </c:pt>
              </c:numCache>
            </c:numRef>
          </c:bubbleSize>
          <c:bubble3D val="0"/>
          <c:extLst>
            <c:ext xmlns:c15="http://schemas.microsoft.com/office/drawing/2012/chart" uri="{02D57815-91ED-43cb-92C2-25804820EDAC}">
              <c15:datalabelsRange>
                <c15:f>Sheet1!$E$2:$E$10</c15:f>
                <c15:dlblRangeCache>
                  <c:ptCount val="9"/>
                  <c:pt idx="0">
                    <c:v>Nive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05"/>
          <c:min val="2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BB2F5A-FD68-4C6E-8A61-9846B1A421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D315894-1A44-4FA8-B3DD-AD6153B33E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646BFCE-3A63-4F6F-AEFF-1FEC4B12C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B70F791-A9BD-48B9-8337-06512901D2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C7D639D-FF67-425B-AFD1-0835EB4CBA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969C3E9-7D3F-450B-B023-8E33DBCBEC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C9F786C-72A3-4BF7-A9F6-A46A4295AB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AE95432-BC31-4E83-92F2-C716C2AD85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47.43469999999999</c:v>
                </c:pt>
                <c:pt idx="1">
                  <c:v>268.28949999999998</c:v>
                </c:pt>
                <c:pt idx="2">
                  <c:v>151.3416</c:v>
                </c:pt>
              </c:numCache>
            </c:numRef>
          </c:xVal>
          <c:yVal>
            <c:numRef>
              <c:f>Sheet1!$B$2:$B$4</c:f>
              <c:numCache>
                <c:formatCode>General</c:formatCode>
                <c:ptCount val="3"/>
                <c:pt idx="0">
                  <c:v>0.91800000000000004</c:v>
                </c:pt>
                <c:pt idx="1">
                  <c:v>0.79100000000000004</c:v>
                </c:pt>
                <c:pt idx="2">
                  <c:v>0.81599999999999995</c:v>
                </c:pt>
              </c:numCache>
            </c:numRef>
          </c:yVal>
          <c:bubbleSize>
            <c:numRef>
              <c:f>Sheet1!$C$2:$C$4</c:f>
              <c:numCache>
                <c:formatCode>General</c:formatCode>
                <c:ptCount val="3"/>
                <c:pt idx="0">
                  <c:v>75533658</c:v>
                </c:pt>
                <c:pt idx="1">
                  <c:v>40135848</c:v>
                </c:pt>
                <c:pt idx="2">
                  <c:v>26641268</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2"/>
          <c:min val="12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7E49DF9-27D5-4A32-9A99-76561282E1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6D66AFF-AD25-4957-A28D-B205515963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35D2EAA-5C9B-4367-B268-4C2DF1D89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D152AFB-CFDA-4D27-BF16-459487F4DE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9ECE461-3EA4-4EBB-B952-4A23C8C67B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DA1A100-212A-4ABF-B89C-68F9222037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8440011-AD0A-4F6D-BF12-8C290854CA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AB3795A-C39A-4774-B573-FA67DB0D75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25.98270000000002</c:v>
                </c:pt>
                <c:pt idx="1">
                  <c:v>412.82</c:v>
                </c:pt>
                <c:pt idx="2">
                  <c:v>264.61829999999998</c:v>
                </c:pt>
              </c:numCache>
            </c:numRef>
          </c:xVal>
          <c:yVal>
            <c:numRef>
              <c:f>Sheet1!$B$2:$B$4</c:f>
              <c:numCache>
                <c:formatCode>General</c:formatCode>
                <c:ptCount val="3"/>
                <c:pt idx="0">
                  <c:v>0.91300000000000003</c:v>
                </c:pt>
                <c:pt idx="1">
                  <c:v>4.5359999999999996</c:v>
                </c:pt>
                <c:pt idx="2">
                  <c:v>0.65800000000000003</c:v>
                </c:pt>
              </c:numCache>
            </c:numRef>
          </c:yVal>
          <c:bubbleSize>
            <c:numRef>
              <c:f>Sheet1!$C$2:$C$4</c:f>
              <c:numCache>
                <c:formatCode>General</c:formatCode>
                <c:ptCount val="3"/>
                <c:pt idx="0">
                  <c:v>14610870</c:v>
                </c:pt>
                <c:pt idx="1">
                  <c:v>1969977</c:v>
                </c:pt>
                <c:pt idx="2">
                  <c:v>377875</c:v>
                </c:pt>
              </c:numCache>
            </c:numRef>
          </c:bubbleSize>
          <c:bubble3D val="0"/>
          <c:extLst>
            <c:ext xmlns:c15="http://schemas.microsoft.com/office/drawing/2012/chart" uri="{02D57815-91ED-43cb-92C2-25804820EDAC}">
              <c15:datalabelsRange>
                <c15:f>Sheet1!$E$2:$E$10</c15:f>
                <c15:dlblRangeCache>
                  <c:ptCount val="9"/>
                  <c:pt idx="0">
                    <c:v>Banana Boat</c:v>
                  </c:pt>
                  <c:pt idx="1">
                    <c:v>Mustela</c:v>
                  </c:pt>
                  <c:pt idx="2">
                    <c:v>Australian Gol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5"/>
          <c:min val="21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81BE635-0254-4EDA-B3E5-703E0FE14C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38F1D76E-8920-473E-BA6F-B223752F17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89F4E63-0104-4745-991D-34EF4F247B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0856789-9F77-4AC4-80F0-B13D0DD31A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808F86E-18DF-4381-B534-2F2154F0B9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7C5785D-4477-47AB-B298-256C5BCFE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296C35F-66EE-403C-B13E-7C84576C7A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E6AD4A0-7B54-4442-A5FD-5BF833B792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34.5549</c:v>
                </c:pt>
              </c:numCache>
            </c:numRef>
          </c:xVal>
          <c:yVal>
            <c:numRef>
              <c:f>Sheet1!$B$2:$B$2</c:f>
              <c:numCache>
                <c:formatCode>General</c:formatCode>
                <c:ptCount val="1"/>
                <c:pt idx="0">
                  <c:v>0.80300000000000005</c:v>
                </c:pt>
              </c:numCache>
            </c:numRef>
          </c:yVal>
          <c:bubbleSize>
            <c:numRef>
              <c:f>Sheet1!$C$2:$C$2</c:f>
              <c:numCache>
                <c:formatCode>General</c:formatCode>
                <c:ptCount val="1"/>
                <c:pt idx="0">
                  <c:v>3247882</c:v>
                </c:pt>
              </c:numCache>
            </c:numRef>
          </c:bubbleSize>
          <c:bubble3D val="0"/>
          <c:extLst>
            <c:ext xmlns:c15="http://schemas.microsoft.com/office/drawing/2012/chart" uri="{02D57815-91ED-43cb-92C2-25804820EDAC}">
              <c15:datalabelsRange>
                <c15:f>Sheet1!$E$2:$E$10</c15:f>
                <c15:dlblRangeCache>
                  <c:ptCount val="9"/>
                  <c:pt idx="0">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1"/>
          <c:min val="18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3EC8614-816E-467E-AEC7-5022B89FA1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3FEA2F1B-C1A4-4F03-9039-EFF40F62DD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1A97ABC0-58F9-4531-8713-B7FC8F4344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E084137-A81C-4544-9AA5-DF7F7C1856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B23A4B1-3C84-4B92-9F1E-56E534B16A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991BFB7-C59A-4670-9773-4391BDDDAB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01B04FE-F270-4C98-8DFA-3016CACE39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AB76A20-77C0-45BA-ABA1-38405C0945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21.38740000000001</c:v>
                </c:pt>
              </c:numCache>
            </c:numRef>
          </c:xVal>
          <c:yVal>
            <c:numRef>
              <c:f>Sheet1!$B$2:$B$2</c:f>
              <c:numCache>
                <c:formatCode>General</c:formatCode>
                <c:ptCount val="1"/>
                <c:pt idx="0">
                  <c:v>0.94599999999999995</c:v>
                </c:pt>
              </c:numCache>
            </c:numRef>
          </c:yVal>
          <c:bubbleSize>
            <c:numRef>
              <c:f>Sheet1!$C$2:$C$2</c:f>
              <c:numCache>
                <c:formatCode>General</c:formatCode>
                <c:ptCount val="1"/>
                <c:pt idx="0">
                  <c:v>73722</c:v>
                </c:pt>
              </c:numCache>
            </c:numRef>
          </c:bubbleSize>
          <c:bubble3D val="0"/>
          <c:extLst>
            <c:ext xmlns:c15="http://schemas.microsoft.com/office/drawing/2012/chart" uri="{02D57815-91ED-43cb-92C2-25804820EDAC}">
              <c15:datalabelsRange>
                <c15:f>Sheet1!$E$2:$E$10</c15:f>
                <c15:dlblRangeCache>
                  <c:ptCount val="9"/>
                  <c:pt idx="0">
                    <c:v>Muste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66"/>
          <c:min val="17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6B4DA31-CCA5-417C-9750-117EDB1E24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72A44A6-436F-457B-A429-3B96EFF510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2A63A07-746E-454B-A555-A09FCE64CA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A638B2F-2156-47F4-90EC-B17FB934F6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383E435-3D1C-4674-A441-B8D23EE0C2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430506B-C58A-48E9-A8DD-867B258F71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190FC14-4C64-4D56-B0E7-3AB0FBC6B5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4B36E94-4C92-4D17-9577-D9A688244C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574.96820000000002</c:v>
                </c:pt>
                <c:pt idx="1">
                  <c:v>652.13699999999994</c:v>
                </c:pt>
                <c:pt idx="2">
                  <c:v>698.27750000000003</c:v>
                </c:pt>
                <c:pt idx="3">
                  <c:v>760.58529999999996</c:v>
                </c:pt>
                <c:pt idx="4">
                  <c:v>776.75390000000004</c:v>
                </c:pt>
              </c:numCache>
            </c:numRef>
          </c:xVal>
          <c:yVal>
            <c:numRef>
              <c:f>Sheet1!$B$2:$B$6</c:f>
              <c:numCache>
                <c:formatCode>General</c:formatCode>
                <c:ptCount val="5"/>
                <c:pt idx="0">
                  <c:v>1.4930000000000001</c:v>
                </c:pt>
                <c:pt idx="1">
                  <c:v>0.72499999999999998</c:v>
                </c:pt>
                <c:pt idx="2">
                  <c:v>0.77600000000000002</c:v>
                </c:pt>
                <c:pt idx="3">
                  <c:v>4.1470000000000002</c:v>
                </c:pt>
                <c:pt idx="4">
                  <c:v>0.94099999999999995</c:v>
                </c:pt>
              </c:numCache>
            </c:numRef>
          </c:yVal>
          <c:bubbleSize>
            <c:numRef>
              <c:f>Sheet1!$C$2:$C$6</c:f>
              <c:numCache>
                <c:formatCode>General</c:formatCode>
                <c:ptCount val="5"/>
                <c:pt idx="0">
                  <c:v>22969979</c:v>
                </c:pt>
                <c:pt idx="1">
                  <c:v>21728553</c:v>
                </c:pt>
                <c:pt idx="2">
                  <c:v>3737181</c:v>
                </c:pt>
                <c:pt idx="3">
                  <c:v>2341842</c:v>
                </c:pt>
                <c:pt idx="4">
                  <c:v>602761</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Heliocare</c:v>
                  </c:pt>
                  <c:pt idx="3">
                    <c:v>Vichy</c:v>
                  </c:pt>
                  <c:pt idx="4">
                    <c:v>Ave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32"/>
          <c:min val="4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D506FC-B28C-4FA7-A2B3-6448EA9856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09F0A99-AC20-4669-B44A-8C42762A0A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20FEC7A-B8A0-43B8-BD12-BCFFF240F1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A600897-D219-49A1-AE4B-2D89E648EC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181A1D0-DEF0-4296-B8A9-BC22717455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99CDD84-94E5-403D-841A-EB9EAEA52E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9EEA34A-C3A7-46FA-8538-A7E20A2F80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5BD76A6-9A91-4E1E-B279-C9D9A24357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626.56700000000001</c:v>
                </c:pt>
                <c:pt idx="1">
                  <c:v>681.67589999999996</c:v>
                </c:pt>
                <c:pt idx="2">
                  <c:v>684.12149999999997</c:v>
                </c:pt>
                <c:pt idx="3">
                  <c:v>728.54459999999995</c:v>
                </c:pt>
                <c:pt idx="4">
                  <c:v>322.411</c:v>
                </c:pt>
                <c:pt idx="5">
                  <c:v>627.55100000000004</c:v>
                </c:pt>
                <c:pt idx="6">
                  <c:v>745.46540000000005</c:v>
                </c:pt>
                <c:pt idx="7">
                  <c:v>778.24239999999998</c:v>
                </c:pt>
                <c:pt idx="8">
                  <c:v>464.29259999999999</c:v>
                </c:pt>
              </c:numCache>
            </c:numRef>
          </c:xVal>
          <c:yVal>
            <c:numRef>
              <c:f>Sheet1!$B$2:$B$10</c:f>
              <c:numCache>
                <c:formatCode>General</c:formatCode>
                <c:ptCount val="9"/>
                <c:pt idx="0">
                  <c:v>1.4990000000000001</c:v>
                </c:pt>
                <c:pt idx="1">
                  <c:v>0.88600000000000001</c:v>
                </c:pt>
                <c:pt idx="2">
                  <c:v>1.492</c:v>
                </c:pt>
                <c:pt idx="3">
                  <c:v>1.0069999999999999</c:v>
                </c:pt>
                <c:pt idx="4">
                  <c:v>0.42899999999999999</c:v>
                </c:pt>
                <c:pt idx="5">
                  <c:v>1.5289999999999999</c:v>
                </c:pt>
                <c:pt idx="6">
                  <c:v>2.7610000000000001</c:v>
                </c:pt>
                <c:pt idx="7">
                  <c:v>0.65700000000000003</c:v>
                </c:pt>
                <c:pt idx="8">
                  <c:v>1.135</c:v>
                </c:pt>
              </c:numCache>
            </c:numRef>
          </c:yVal>
          <c:bubbleSize>
            <c:numRef>
              <c:f>Sheet1!$C$2:$C$10</c:f>
              <c:numCache>
                <c:formatCode>General</c:formatCode>
                <c:ptCount val="9"/>
                <c:pt idx="0">
                  <c:v>236836703</c:v>
                </c:pt>
                <c:pt idx="1">
                  <c:v>115896495</c:v>
                </c:pt>
                <c:pt idx="2">
                  <c:v>79984060</c:v>
                </c:pt>
                <c:pt idx="3">
                  <c:v>77229369</c:v>
                </c:pt>
                <c:pt idx="4">
                  <c:v>58967363</c:v>
                </c:pt>
                <c:pt idx="5">
                  <c:v>44488346</c:v>
                </c:pt>
                <c:pt idx="6">
                  <c:v>42071086</c:v>
                </c:pt>
                <c:pt idx="7">
                  <c:v>39507474</c:v>
                </c:pt>
                <c:pt idx="8">
                  <c:v>14735718</c:v>
                </c:pt>
              </c:numCache>
            </c:numRef>
          </c:bubbleSize>
          <c:bubble3D val="0"/>
          <c:extLst>
            <c:ext xmlns:c15="http://schemas.microsoft.com/office/drawing/2012/chart" uri="{02D57815-91ED-43cb-92C2-25804820EDAC}">
              <c15:datalabelsRange>
                <c15:f>Sheet1!$E$2:$E$10</c15:f>
                <c15:dlblRangeCache>
                  <c:ptCount val="9"/>
                  <c:pt idx="0">
                    <c:v>Isdin</c:v>
                  </c:pt>
                  <c:pt idx="1">
                    <c:v>Avene</c:v>
                  </c:pt>
                  <c:pt idx="2">
                    <c:v>La Roche-Posay</c:v>
                  </c:pt>
                  <c:pt idx="3">
                    <c:v>Eucerin</c:v>
                  </c:pt>
                  <c:pt idx="4">
                    <c:v>Neutrogena</c:v>
                  </c:pt>
                  <c:pt idx="5">
                    <c:v>Heliocare</c:v>
                  </c:pt>
                  <c:pt idx="6">
                    <c:v>Photoderm</c:v>
                  </c:pt>
                  <c:pt idx="7">
                    <c:v>Vichy</c:v>
                  </c:pt>
                  <c:pt idx="8">
                    <c:v>Cetaph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34"/>
          <c:min val="25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E4B99DC-29A7-4C53-92C7-A2E5F6E2FA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79FF79F-80D4-45A9-A203-46C0B04C38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898CDB1-B586-490D-9322-64FFAD0DEE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3EBE0A8-F3D0-4E3D-9415-E022DA9FAE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541721C-DBB7-4722-96E3-83FB380564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73F7CE7-ADBC-4DAE-9DC0-DDE0670E2A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E67BB88-F41C-4C66-A089-AF2149B25A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F1E0187-84A5-400C-A1E1-F4B90E82B0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52.66800000000001</c:v>
                </c:pt>
                <c:pt idx="1">
                  <c:v>612.90509999999995</c:v>
                </c:pt>
                <c:pt idx="2">
                  <c:v>219.12639999999999</c:v>
                </c:pt>
                <c:pt idx="3">
                  <c:v>629.18399999999997</c:v>
                </c:pt>
                <c:pt idx="4">
                  <c:v>220.91210000000001</c:v>
                </c:pt>
                <c:pt idx="5">
                  <c:v>665.37490000000003</c:v>
                </c:pt>
                <c:pt idx="6">
                  <c:v>679.58199999999999</c:v>
                </c:pt>
                <c:pt idx="7">
                  <c:v>302.15910000000002</c:v>
                </c:pt>
                <c:pt idx="8">
                  <c:v>716.47730000000001</c:v>
                </c:pt>
              </c:numCache>
            </c:numRef>
          </c:xVal>
          <c:yVal>
            <c:numRef>
              <c:f>Sheet1!$B$2:$B$10</c:f>
              <c:numCache>
                <c:formatCode>General</c:formatCode>
                <c:ptCount val="9"/>
                <c:pt idx="0">
                  <c:v>0.71299999999999997</c:v>
                </c:pt>
                <c:pt idx="1">
                  <c:v>2.6619999999999999</c:v>
                </c:pt>
                <c:pt idx="2">
                  <c:v>0.495</c:v>
                </c:pt>
                <c:pt idx="3">
                  <c:v>4.38</c:v>
                </c:pt>
                <c:pt idx="4">
                  <c:v>0.51200000000000001</c:v>
                </c:pt>
                <c:pt idx="5">
                  <c:v>3.778</c:v>
                </c:pt>
                <c:pt idx="6">
                  <c:v>3.1309999999999998</c:v>
                </c:pt>
                <c:pt idx="7">
                  <c:v>1.3540000000000001</c:v>
                </c:pt>
                <c:pt idx="8">
                  <c:v>3.4460000000000002</c:v>
                </c:pt>
              </c:numCache>
            </c:numRef>
          </c:yVal>
          <c:bubbleSize>
            <c:numRef>
              <c:f>Sheet1!$C$2:$C$10</c:f>
              <c:numCache>
                <c:formatCode>General</c:formatCode>
                <c:ptCount val="9"/>
                <c:pt idx="0">
                  <c:v>712991219</c:v>
                </c:pt>
                <c:pt idx="1">
                  <c:v>560154823</c:v>
                </c:pt>
                <c:pt idx="2">
                  <c:v>338199514</c:v>
                </c:pt>
                <c:pt idx="3">
                  <c:v>334290507</c:v>
                </c:pt>
                <c:pt idx="4">
                  <c:v>289054849</c:v>
                </c:pt>
                <c:pt idx="5">
                  <c:v>240875045</c:v>
                </c:pt>
                <c:pt idx="6">
                  <c:v>199973121</c:v>
                </c:pt>
                <c:pt idx="7">
                  <c:v>160315326</c:v>
                </c:pt>
                <c:pt idx="8">
                  <c:v>110692153</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Hawaiian Tropic</c:v>
                  </c:pt>
                  <c:pt idx="3">
                    <c:v>La Roche-Posay</c:v>
                  </c:pt>
                  <c:pt idx="4">
                    <c:v>Banana Boat</c:v>
                  </c:pt>
                  <c:pt idx="5">
                    <c:v>Eucerin</c:v>
                  </c:pt>
                  <c:pt idx="6">
                    <c:v>Avene</c:v>
                  </c:pt>
                  <c:pt idx="7">
                    <c:v>Neutrogena</c:v>
                  </c:pt>
                  <c:pt idx="8">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60"/>
          <c:min val="17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732685-A571-4497-B0BC-E5C6958E90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C156676-B067-4349-A1D3-8F97EBC060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DE2019A-6206-481A-90B2-97D47D90FA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5DEEC34-7EA4-4D1F-A6D1-C5C19C0411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315F600-8072-41CB-BD52-EFF7D15A58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A0AB89D-FD6F-4BB6-86B9-F54FBBA992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6A02BB7-2C38-4696-A5EC-5980C81787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F75A9D3-C6A4-4AF0-A6D7-A637AE6B66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29.39239999999995</c:v>
                </c:pt>
                <c:pt idx="1">
                  <c:v>646.77200000000005</c:v>
                </c:pt>
                <c:pt idx="2">
                  <c:v>772.65</c:v>
                </c:pt>
                <c:pt idx="3">
                  <c:v>639.43899999999996</c:v>
                </c:pt>
                <c:pt idx="4">
                  <c:v>619.71360000000004</c:v>
                </c:pt>
                <c:pt idx="5">
                  <c:v>658.16420000000005</c:v>
                </c:pt>
              </c:numCache>
            </c:numRef>
          </c:xVal>
          <c:yVal>
            <c:numRef>
              <c:f>Sheet1!$B$2:$B$7</c:f>
              <c:numCache>
                <c:formatCode>General</c:formatCode>
                <c:ptCount val="6"/>
                <c:pt idx="0">
                  <c:v>0.91700000000000004</c:v>
                </c:pt>
                <c:pt idx="1">
                  <c:v>0.96099999999999997</c:v>
                </c:pt>
                <c:pt idx="2">
                  <c:v>1.2529999999999999</c:v>
                </c:pt>
                <c:pt idx="3">
                  <c:v>0.92600000000000005</c:v>
                </c:pt>
                <c:pt idx="4">
                  <c:v>0.91100000000000003</c:v>
                </c:pt>
                <c:pt idx="5">
                  <c:v>1.45</c:v>
                </c:pt>
              </c:numCache>
            </c:numRef>
          </c:yVal>
          <c:bubbleSize>
            <c:numRef>
              <c:f>Sheet1!$C$2:$C$7</c:f>
              <c:numCache>
                <c:formatCode>General</c:formatCode>
                <c:ptCount val="6"/>
                <c:pt idx="0">
                  <c:v>120217088</c:v>
                </c:pt>
                <c:pt idx="1">
                  <c:v>55895332</c:v>
                </c:pt>
                <c:pt idx="2">
                  <c:v>51773732</c:v>
                </c:pt>
                <c:pt idx="3">
                  <c:v>23370856</c:v>
                </c:pt>
                <c:pt idx="4">
                  <c:v>16949787</c:v>
                </c:pt>
                <c:pt idx="5">
                  <c:v>15586645</c:v>
                </c:pt>
              </c:numCache>
            </c:numRef>
          </c:bubbleSize>
          <c:bubble3D val="0"/>
          <c:extLst>
            <c:ext xmlns:c15="http://schemas.microsoft.com/office/drawing/2012/chart" uri="{02D57815-91ED-43cb-92C2-25804820EDAC}">
              <c15:datalabelsRange>
                <c15:f>Sheet1!$E$2:$E$10</c15:f>
                <c15:dlblRangeCache>
                  <c:ptCount val="9"/>
                  <c:pt idx="0">
                    <c:v>La Roche-Posay</c:v>
                  </c:pt>
                  <c:pt idx="1">
                    <c:v>Isdin</c:v>
                  </c:pt>
                  <c:pt idx="2">
                    <c:v>Avene</c:v>
                  </c:pt>
                  <c:pt idx="3">
                    <c:v>Heliocare</c:v>
                  </c:pt>
                  <c:pt idx="4">
                    <c:v>Eucerin</c:v>
                  </c:pt>
                  <c:pt idx="5">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27"/>
          <c:min val="49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7F64E32-488A-4CE0-AC5D-70FFA9312B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B5EF763-714A-4947-BB05-72D9C8A801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818AC83-95AF-4926-A7BE-D4C8BF778B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CB96E7D-088C-4C3D-A50D-55B9121AA9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7DCEEAD-8D76-4E06-AD5A-33401A47E2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FD78E7B-7BB7-4F16-ACDD-08CB72BEE6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78E12B4-2F78-4555-8A46-4DC2157AAE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4723A81-2CD2-418B-88E0-22CB627CC6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40.50599999999997</c:v>
                </c:pt>
                <c:pt idx="1">
                  <c:v>648.19640000000004</c:v>
                </c:pt>
                <c:pt idx="2">
                  <c:v>586.74339999999995</c:v>
                </c:pt>
                <c:pt idx="3">
                  <c:v>661.21299999999997</c:v>
                </c:pt>
                <c:pt idx="4">
                  <c:v>786.29650000000004</c:v>
                </c:pt>
                <c:pt idx="5">
                  <c:v>523.94230000000005</c:v>
                </c:pt>
              </c:numCache>
            </c:numRef>
          </c:xVal>
          <c:yVal>
            <c:numRef>
              <c:f>Sheet1!$B$2:$B$7</c:f>
              <c:numCache>
                <c:formatCode>General</c:formatCode>
                <c:ptCount val="6"/>
                <c:pt idx="0">
                  <c:v>0.48799999999999999</c:v>
                </c:pt>
                <c:pt idx="1">
                  <c:v>2.4420000000000002</c:v>
                </c:pt>
                <c:pt idx="2">
                  <c:v>2.2029999999999998</c:v>
                </c:pt>
                <c:pt idx="3">
                  <c:v>2.2400000000000002</c:v>
                </c:pt>
                <c:pt idx="4">
                  <c:v>4.9870000000000001</c:v>
                </c:pt>
                <c:pt idx="5">
                  <c:v>0.98</c:v>
                </c:pt>
              </c:numCache>
            </c:numRef>
          </c:yVal>
          <c:bubbleSize>
            <c:numRef>
              <c:f>Sheet1!$C$2:$C$7</c:f>
              <c:numCache>
                <c:formatCode>General</c:formatCode>
                <c:ptCount val="6"/>
                <c:pt idx="0">
                  <c:v>88726737</c:v>
                </c:pt>
                <c:pt idx="1">
                  <c:v>69410170</c:v>
                </c:pt>
                <c:pt idx="2">
                  <c:v>51697378</c:v>
                </c:pt>
                <c:pt idx="3">
                  <c:v>21966819</c:v>
                </c:pt>
                <c:pt idx="4">
                  <c:v>10846174</c:v>
                </c:pt>
                <c:pt idx="5">
                  <c:v>4515335</c:v>
                </c:pt>
              </c:numCache>
            </c:numRef>
          </c:bubbleSize>
          <c:bubble3D val="0"/>
          <c:extLst>
            <c:ext xmlns:c15="http://schemas.microsoft.com/office/drawing/2012/chart" uri="{02D57815-91ED-43cb-92C2-25804820EDAC}">
              <c15:datalabelsRange>
                <c15:f>Sheet1!$E$2:$E$10</c15:f>
                <c15:dlblRangeCache>
                  <c:ptCount val="9"/>
                  <c:pt idx="0">
                    <c:v>Isdin</c:v>
                  </c:pt>
                  <c:pt idx="1">
                    <c:v>Eucerin</c:v>
                  </c:pt>
                  <c:pt idx="2">
                    <c:v>La Roche-Posay</c:v>
                  </c:pt>
                  <c:pt idx="3">
                    <c:v>Heliocare</c:v>
                  </c:pt>
                  <c:pt idx="4">
                    <c:v>Photoderm</c:v>
                  </c:pt>
                  <c:pt idx="5">
                    <c:v>Cetaphi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44"/>
          <c:min val="41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B2E05A9-B5F1-4A3B-942D-87DB90AA11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1CDE44-3203-4973-B6A7-9844E5F504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9DFCE1D-7166-4B10-8E10-01C83E4C79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AB96D2B-99A4-4BBD-A4A8-334AFEE841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5DF25AA-173A-4EBE-AD9A-A23B4C12DB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F89691A-1407-4470-85D1-48FED91535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C79A696-A9BE-4E9C-8657-B64E283C2A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2B25CE0-7C57-46E3-AF63-629B95B7E0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693.9</c:v>
                </c:pt>
                <c:pt idx="1">
                  <c:v>831.80759999999998</c:v>
                </c:pt>
              </c:numCache>
            </c:numRef>
          </c:xVal>
          <c:yVal>
            <c:numRef>
              <c:f>Sheet1!$B$2:$B$3</c:f>
              <c:numCache>
                <c:formatCode>General</c:formatCode>
                <c:ptCount val="2"/>
                <c:pt idx="0">
                  <c:v>0.88400000000000001</c:v>
                </c:pt>
                <c:pt idx="1">
                  <c:v>2.4860000000000002</c:v>
                </c:pt>
              </c:numCache>
            </c:numRef>
          </c:yVal>
          <c:bubbleSize>
            <c:numRef>
              <c:f>Sheet1!$C$2:$C$3</c:f>
              <c:numCache>
                <c:formatCode>General</c:formatCode>
                <c:ptCount val="2"/>
                <c:pt idx="0">
                  <c:v>31886093</c:v>
                </c:pt>
                <c:pt idx="1">
                  <c:v>6997997</c:v>
                </c:pt>
              </c:numCache>
            </c:numRef>
          </c:bubbleSize>
          <c:bubble3D val="0"/>
          <c:extLst>
            <c:ext xmlns:c15="http://schemas.microsoft.com/office/drawing/2012/chart" uri="{02D57815-91ED-43cb-92C2-25804820EDAC}">
              <c15:datalabelsRange>
                <c15:f>Sheet1!$E$2:$E$10</c15:f>
                <c15:dlblRangeCache>
                  <c:ptCount val="9"/>
                  <c:pt idx="0">
                    <c:v>Eucerin</c:v>
                  </c:pt>
                  <c:pt idx="1">
                    <c:v>Photoderm</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998"/>
          <c:min val="55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EED49B7-D90D-4030-9A48-88319D8C14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5328145-C2E5-44DE-AC46-7D4CE7DA0D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D1FC47B-7F19-4405-9177-CC54542187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F15247F-27A9-4142-9BAD-631466A80A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9FA206A-9D8D-4F0E-9CDA-5D0B6C2808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E53322D-E153-4644-9AE9-A963A6DADD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B818377-D411-45D0-9FCE-8AAD01A972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208C75D-EC2B-4403-A753-A2BEBC04C8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637.64200000000005</c:v>
                </c:pt>
                <c:pt idx="1">
                  <c:v>877.44539999999995</c:v>
                </c:pt>
                <c:pt idx="2">
                  <c:v>614.92139999999995</c:v>
                </c:pt>
                <c:pt idx="3">
                  <c:v>524.34870000000001</c:v>
                </c:pt>
                <c:pt idx="4">
                  <c:v>231.5067</c:v>
                </c:pt>
                <c:pt idx="5">
                  <c:v>797.26059999999995</c:v>
                </c:pt>
                <c:pt idx="6">
                  <c:v>885.49980000000005</c:v>
                </c:pt>
                <c:pt idx="7">
                  <c:v>804.7115</c:v>
                </c:pt>
                <c:pt idx="8">
                  <c:v>560.77250000000004</c:v>
                </c:pt>
              </c:numCache>
            </c:numRef>
          </c:xVal>
          <c:yVal>
            <c:numRef>
              <c:f>Sheet1!$B$2:$B$10</c:f>
              <c:numCache>
                <c:formatCode>General</c:formatCode>
                <c:ptCount val="9"/>
                <c:pt idx="0">
                  <c:v>1.5169999999999999</c:v>
                </c:pt>
                <c:pt idx="1">
                  <c:v>1.6479999999999999</c:v>
                </c:pt>
                <c:pt idx="2">
                  <c:v>0.48199999999999998</c:v>
                </c:pt>
                <c:pt idx="3">
                  <c:v>0.78400000000000003</c:v>
                </c:pt>
                <c:pt idx="4">
                  <c:v>1.18</c:v>
                </c:pt>
                <c:pt idx="5">
                  <c:v>0.87</c:v>
                </c:pt>
                <c:pt idx="6">
                  <c:v>0.872</c:v>
                </c:pt>
                <c:pt idx="7">
                  <c:v>0.85</c:v>
                </c:pt>
                <c:pt idx="8">
                  <c:v>0.90500000000000003</c:v>
                </c:pt>
              </c:numCache>
            </c:numRef>
          </c:yVal>
          <c:bubbleSize>
            <c:numRef>
              <c:f>Sheet1!$C$2:$C$10</c:f>
              <c:numCache>
                <c:formatCode>General</c:formatCode>
                <c:ptCount val="9"/>
                <c:pt idx="0">
                  <c:v>13405148</c:v>
                </c:pt>
                <c:pt idx="1">
                  <c:v>8344506</c:v>
                </c:pt>
                <c:pt idx="2">
                  <c:v>7937406</c:v>
                </c:pt>
                <c:pt idx="3">
                  <c:v>7648674</c:v>
                </c:pt>
                <c:pt idx="4">
                  <c:v>6738929</c:v>
                </c:pt>
                <c:pt idx="5">
                  <c:v>6171594</c:v>
                </c:pt>
                <c:pt idx="6">
                  <c:v>2581232</c:v>
                </c:pt>
                <c:pt idx="7">
                  <c:v>2256411</c:v>
                </c:pt>
                <c:pt idx="8">
                  <c:v>1853914</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Avene</c:v>
                  </c:pt>
                  <c:pt idx="3">
                    <c:v>Cetaphil</c:v>
                  </c:pt>
                  <c:pt idx="4">
                    <c:v>Loreal Paris</c:v>
                  </c:pt>
                  <c:pt idx="5">
                    <c:v>Eucerin</c:v>
                  </c:pt>
                  <c:pt idx="6">
                    <c:v>Photoderm</c:v>
                  </c:pt>
                  <c:pt idx="7">
                    <c:v>Vichy</c:v>
                  </c:pt>
                  <c:pt idx="8">
                    <c:v>Eclipso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63"/>
          <c:min val="18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276E83A-67F9-43E9-B423-E5839DD896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7CAD7BD-8A99-4112-9C47-D025436BD0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07C2234-5195-44E4-80C8-00CB595A19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D79B028-70A4-4C96-B585-BB9FB03895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13CD7F8-9A1E-4B08-A351-556AA18345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B9EB3F1-CAC0-48FF-9728-92E8002943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11739CB-9A76-41D0-986A-1196C269FA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6743BFF-413C-4267-BA55-5A9B117638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648.63059999999996</c:v>
                </c:pt>
                <c:pt idx="1">
                  <c:v>331.2047</c:v>
                </c:pt>
                <c:pt idx="2">
                  <c:v>721.35090000000002</c:v>
                </c:pt>
              </c:numCache>
            </c:numRef>
          </c:xVal>
          <c:yVal>
            <c:numRef>
              <c:f>Sheet1!$B$2:$B$4</c:f>
              <c:numCache>
                <c:formatCode>General</c:formatCode>
                <c:ptCount val="3"/>
                <c:pt idx="0">
                  <c:v>0.748</c:v>
                </c:pt>
                <c:pt idx="1">
                  <c:v>1.484</c:v>
                </c:pt>
                <c:pt idx="2">
                  <c:v>1.32</c:v>
                </c:pt>
              </c:numCache>
            </c:numRef>
          </c:yVal>
          <c:bubbleSize>
            <c:numRef>
              <c:f>Sheet1!$C$2:$C$4</c:f>
              <c:numCache>
                <c:formatCode>General</c:formatCode>
                <c:ptCount val="3"/>
                <c:pt idx="0">
                  <c:v>4895215</c:v>
                </c:pt>
                <c:pt idx="1">
                  <c:v>2831469</c:v>
                </c:pt>
                <c:pt idx="2">
                  <c:v>2783693</c:v>
                </c:pt>
              </c:numCache>
            </c:numRef>
          </c:bubbleSize>
          <c:bubble3D val="0"/>
          <c:extLst>
            <c:ext xmlns:c15="http://schemas.microsoft.com/office/drawing/2012/chart" uri="{02D57815-91ED-43cb-92C2-25804820EDAC}">
              <c15:datalabelsRange>
                <c15:f>Sheet1!$E$2:$E$10</c15:f>
                <c15:dlblRangeCache>
                  <c:ptCount val="9"/>
                  <c:pt idx="0">
                    <c:v>Isdin</c:v>
                  </c:pt>
                  <c:pt idx="1">
                    <c:v>Eclipsol</c:v>
                  </c:pt>
                  <c:pt idx="2">
                    <c:v>La Roche-Posa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66"/>
          <c:min val="26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DC0E594-CF3E-40C4-A483-BE8E806DA8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3EC9B53-E615-4C4F-A65D-D0606E14E4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75E34D6-95CA-47EC-8708-11D872083C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E08C183-89C1-40E9-9FCD-CEA371E614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D952574-F616-47D6-B941-D7A048962B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41AB97C-7BF9-4792-A41E-4E268F8D2C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E6F4F23-5DA9-44C2-A6A2-AED540FBC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EFE8D21-046D-40C4-9D40-2753389435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750.1001</c:v>
                </c:pt>
                <c:pt idx="1">
                  <c:v>1110.2319</c:v>
                </c:pt>
                <c:pt idx="2">
                  <c:v>631.07150000000001</c:v>
                </c:pt>
              </c:numCache>
            </c:numRef>
          </c:xVal>
          <c:yVal>
            <c:numRef>
              <c:f>Sheet1!$B$2:$B$4</c:f>
              <c:numCache>
                <c:formatCode>General</c:formatCode>
                <c:ptCount val="3"/>
                <c:pt idx="0">
                  <c:v>0.88900000000000001</c:v>
                </c:pt>
                <c:pt idx="1">
                  <c:v>1.837</c:v>
                </c:pt>
                <c:pt idx="2">
                  <c:v>1.677</c:v>
                </c:pt>
              </c:numCache>
            </c:numRef>
          </c:yVal>
          <c:bubbleSize>
            <c:numRef>
              <c:f>Sheet1!$C$2:$C$4</c:f>
              <c:numCache>
                <c:formatCode>General</c:formatCode>
                <c:ptCount val="3"/>
                <c:pt idx="0">
                  <c:v>20864033</c:v>
                </c:pt>
                <c:pt idx="1">
                  <c:v>3767017</c:v>
                </c:pt>
                <c:pt idx="2">
                  <c:v>2206857</c:v>
                </c:pt>
              </c:numCache>
            </c:numRef>
          </c:bubbleSize>
          <c:bubble3D val="0"/>
          <c:extLst>
            <c:ext xmlns:c15="http://schemas.microsoft.com/office/drawing/2012/chart" uri="{02D57815-91ED-43cb-92C2-25804820EDAC}">
              <c15:datalabelsRange>
                <c15:f>Sheet1!$E$2:$E$10</c15:f>
                <c15:dlblRangeCache>
                  <c:ptCount val="9"/>
                  <c:pt idx="0">
                    <c:v>Photoderm</c:v>
                  </c:pt>
                  <c:pt idx="1">
                    <c:v>La Roche-Posay</c:v>
                  </c:pt>
                  <c:pt idx="2">
                    <c:v>Genov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32"/>
          <c:min val="50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8D71A6C-268D-43EE-AF2E-E58AF5A7AD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26DCE9DD-5672-4C1C-A5F1-94C8297C34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6CD07A0-9023-4C39-9F82-B1FEF7D668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E596045-CB81-4FE5-AD58-7469B89159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7B1EBDF-CF67-4CCF-8048-9846F7E511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E4C3F2D-8EF7-4769-A381-5A7875DE6A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C366526-BC97-4932-8D9E-A1B6CD645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11456D2-BE5E-47F9-B943-7984095BE6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489.36520000000002</c:v>
                </c:pt>
              </c:numCache>
            </c:numRef>
          </c:xVal>
          <c:yVal>
            <c:numRef>
              <c:f>Sheet1!$B$2:$B$2</c:f>
              <c:numCache>
                <c:formatCode>General</c:formatCode>
                <c:ptCount val="1"/>
                <c:pt idx="0">
                  <c:v>1</c:v>
                </c:pt>
              </c:numCache>
            </c:numRef>
          </c:yVal>
          <c:bubbleSize>
            <c:numRef>
              <c:f>Sheet1!$C$2:$C$2</c:f>
              <c:numCache>
                <c:formatCode>General</c:formatCode>
                <c:ptCount val="1"/>
                <c:pt idx="0">
                  <c:v>30527089</c:v>
                </c:pt>
              </c:numCache>
            </c:numRef>
          </c:bubbleSize>
          <c:bubble3D val="0"/>
          <c:extLst>
            <c:ext xmlns:c15="http://schemas.microsoft.com/office/drawing/2012/chart" uri="{02D57815-91ED-43cb-92C2-25804820EDAC}">
              <c15:datalabelsRange>
                <c15:f>Sheet1!$E$2:$E$10</c15:f>
                <c15:dlblRangeCache>
                  <c:ptCount val="9"/>
                  <c:pt idx="0">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87"/>
          <c:min val="39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C97268-3482-4177-8C32-F4662721C5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8F2FE62-E112-4D1E-8BBA-23304E82DA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74E613C-5636-4AEB-862B-147FD3DAE1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5DB17D6-0542-47C8-92BA-AEA88372E5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62F9298-BB20-4BD6-BABC-F38B8B5BD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45EBC13-D2FC-41D7-9A74-0A99DE4289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B3D1FCA-D8B9-4207-923F-B8709E40F6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51E5708-9B6A-4E9D-9127-69063F5A0C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91.24880000000002</c:v>
                </c:pt>
                <c:pt idx="1">
                  <c:v>84.300399999999996</c:v>
                </c:pt>
              </c:numCache>
            </c:numRef>
          </c:xVal>
          <c:yVal>
            <c:numRef>
              <c:f>Sheet1!$B$2:$B$3</c:f>
              <c:numCache>
                <c:formatCode>General</c:formatCode>
                <c:ptCount val="2"/>
                <c:pt idx="0">
                  <c:v>1.1060000000000001</c:v>
                </c:pt>
                <c:pt idx="1">
                  <c:v>0.499</c:v>
                </c:pt>
              </c:numCache>
            </c:numRef>
          </c:yVal>
          <c:bubbleSize>
            <c:numRef>
              <c:f>Sheet1!$C$2:$C$3</c:f>
              <c:numCache>
                <c:formatCode>General</c:formatCode>
                <c:ptCount val="2"/>
                <c:pt idx="0">
                  <c:v>15642972</c:v>
                </c:pt>
                <c:pt idx="1">
                  <c:v>2486271</c:v>
                </c:pt>
              </c:numCache>
            </c:numRef>
          </c:bubbleSize>
          <c:bubble3D val="0"/>
          <c:extLst>
            <c:ext xmlns:c15="http://schemas.microsoft.com/office/drawing/2012/chart" uri="{02D57815-91ED-43cb-92C2-25804820EDAC}">
              <c15:datalabelsRange>
                <c15:f>Sheet1!$E$2:$E$10</c15:f>
                <c15:dlblRangeCache>
                  <c:ptCount val="9"/>
                  <c:pt idx="0">
                    <c:v>Banana Boat</c:v>
                  </c:pt>
                  <c:pt idx="1">
                    <c:v>Caribbean Beach</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9"/>
          <c:min val="6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F568AE1-A3A7-4DC7-9E0D-4CCEFE4457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615B1F5-FBCD-43FE-B5E3-6B3D75B30E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84E187C-9286-4975-85C1-B02A66D4A4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614551E-B546-400A-BE73-2FA309E0C5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19669D1-9AEC-4A71-9176-EA90ED0244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177DF6E-7372-47AF-9FCF-DE5D375727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6CCB9EE-1E3E-4238-8ECE-0C4792D03D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D026274-ED71-4698-9CAD-F484BE06C5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09.71090000000001</c:v>
                </c:pt>
                <c:pt idx="1">
                  <c:v>323.12200000000001</c:v>
                </c:pt>
              </c:numCache>
            </c:numRef>
          </c:xVal>
          <c:yVal>
            <c:numRef>
              <c:f>Sheet1!$B$2:$B$3</c:f>
              <c:numCache>
                <c:formatCode>General</c:formatCode>
                <c:ptCount val="2"/>
                <c:pt idx="0">
                  <c:v>0.96899999999999997</c:v>
                </c:pt>
                <c:pt idx="1">
                  <c:v>1.097</c:v>
                </c:pt>
              </c:numCache>
            </c:numRef>
          </c:yVal>
          <c:bubbleSize>
            <c:numRef>
              <c:f>Sheet1!$C$2:$C$3</c:f>
              <c:numCache>
                <c:formatCode>General</c:formatCode>
                <c:ptCount val="2"/>
                <c:pt idx="0">
                  <c:v>23517403</c:v>
                </c:pt>
                <c:pt idx="1">
                  <c:v>8644807</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88"/>
          <c:min val="16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438241-409A-433D-9498-B8A06E60C4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4FAB29D9-6EC6-4D6D-A4C1-851949936A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56412A3-F540-4E8A-A2D9-1532B5583D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2462CD9-C0BD-4EDC-A098-2991A626C2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309781A-2794-40C0-9346-FFE287E0C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4AA64DD-DFBF-4A0C-AF73-7B25BDA0EF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7B8F74A-7145-4AEE-8642-6B1C6FF95B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127CDBB-0A06-4A35-A94E-804C741842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25.6639</c:v>
                </c:pt>
              </c:numCache>
            </c:numRef>
          </c:xVal>
          <c:yVal>
            <c:numRef>
              <c:f>Sheet1!$B$2:$B$2</c:f>
              <c:numCache>
                <c:formatCode>General</c:formatCode>
                <c:ptCount val="1"/>
                <c:pt idx="0">
                  <c:v>0.998</c:v>
                </c:pt>
              </c:numCache>
            </c:numRef>
          </c:yVal>
          <c:bubbleSize>
            <c:numRef>
              <c:f>Sheet1!$C$2:$C$2</c:f>
              <c:numCache>
                <c:formatCode>General</c:formatCode>
                <c:ptCount val="1"/>
                <c:pt idx="0">
                  <c:v>9707911</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51"/>
          <c:min val="10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6AB04E-E730-4BDB-AA71-F1ACBCC485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39E0BF6-B079-4A87-8DD6-76C4345357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1D9DDB8-CB33-474D-B566-BEA05A8F75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445518A-0512-4B3E-8376-B4460F071E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2448CE0-D3DB-4A30-A1F6-DFE3862D23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70EFB10-523A-4473-BBEB-B8B5AF8B82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1630B47-F927-4F6E-B028-1F1C7A90C3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65844CC-0550-4530-AF5B-9130086658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621.58029999999997</c:v>
                </c:pt>
                <c:pt idx="1">
                  <c:v>640.02089999999998</c:v>
                </c:pt>
                <c:pt idx="2">
                  <c:v>685.56870000000004</c:v>
                </c:pt>
                <c:pt idx="3">
                  <c:v>284.22660000000002</c:v>
                </c:pt>
                <c:pt idx="4">
                  <c:v>702.84829999999999</c:v>
                </c:pt>
                <c:pt idx="5">
                  <c:v>629.3922</c:v>
                </c:pt>
                <c:pt idx="6">
                  <c:v>743.65520000000004</c:v>
                </c:pt>
                <c:pt idx="7">
                  <c:v>251.89150000000001</c:v>
                </c:pt>
                <c:pt idx="8">
                  <c:v>204.7139</c:v>
                </c:pt>
              </c:numCache>
            </c:numRef>
          </c:xVal>
          <c:yVal>
            <c:numRef>
              <c:f>Sheet1!$B$2:$B$10</c:f>
              <c:numCache>
                <c:formatCode>General</c:formatCode>
                <c:ptCount val="9"/>
                <c:pt idx="0">
                  <c:v>1.554</c:v>
                </c:pt>
                <c:pt idx="1">
                  <c:v>2.609</c:v>
                </c:pt>
                <c:pt idx="2">
                  <c:v>2.2949999999999999</c:v>
                </c:pt>
                <c:pt idx="3">
                  <c:v>0.496</c:v>
                </c:pt>
                <c:pt idx="4">
                  <c:v>1.877</c:v>
                </c:pt>
                <c:pt idx="5">
                  <c:v>2.8340000000000001</c:v>
                </c:pt>
                <c:pt idx="6">
                  <c:v>2.0049999999999999</c:v>
                </c:pt>
                <c:pt idx="7">
                  <c:v>0.29899999999999999</c:v>
                </c:pt>
                <c:pt idx="8">
                  <c:v>0.33400000000000002</c:v>
                </c:pt>
              </c:numCache>
            </c:numRef>
          </c:yVal>
          <c:bubbleSize>
            <c:numRef>
              <c:f>Sheet1!$C$2:$C$10</c:f>
              <c:numCache>
                <c:formatCode>General</c:formatCode>
                <c:ptCount val="9"/>
                <c:pt idx="0">
                  <c:v>452020654</c:v>
                </c:pt>
                <c:pt idx="1">
                  <c:v>289763721</c:v>
                </c:pt>
                <c:pt idx="2">
                  <c:v>201647013</c:v>
                </c:pt>
                <c:pt idx="3">
                  <c:v>187539514</c:v>
                </c:pt>
                <c:pt idx="4">
                  <c:v>176210394</c:v>
                </c:pt>
                <c:pt idx="5">
                  <c:v>105982088</c:v>
                </c:pt>
                <c:pt idx="6">
                  <c:v>98950018</c:v>
                </c:pt>
                <c:pt idx="7">
                  <c:v>91049215</c:v>
                </c:pt>
                <c:pt idx="8">
                  <c:v>83479659</c:v>
                </c:pt>
              </c:numCache>
            </c:numRef>
          </c:bubbleSize>
          <c:bubble3D val="0"/>
          <c:extLst>
            <c:ext xmlns:c15="http://schemas.microsoft.com/office/drawing/2012/chart" uri="{02D57815-91ED-43cb-92C2-25804820EDAC}">
              <c15:datalabelsRange>
                <c15:f>Sheet1!$E$2:$E$10</c15:f>
                <c15:dlblRangeCache>
                  <c:ptCount val="9"/>
                  <c:pt idx="0">
                    <c:v>Isdin</c:v>
                  </c:pt>
                  <c:pt idx="1">
                    <c:v>La Roche-Posay</c:v>
                  </c:pt>
                  <c:pt idx="2">
                    <c:v>Eucerin</c:v>
                  </c:pt>
                  <c:pt idx="3">
                    <c:v>Nivea</c:v>
                  </c:pt>
                  <c:pt idx="4">
                    <c:v>Avene</c:v>
                  </c:pt>
                  <c:pt idx="5">
                    <c:v>Heliocare</c:v>
                  </c:pt>
                  <c:pt idx="6">
                    <c:v>Photoderm</c:v>
                  </c:pt>
                  <c:pt idx="7">
                    <c:v>Hawaiian Tropic</c:v>
                  </c:pt>
                  <c:pt idx="8">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92"/>
          <c:min val="16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A854A52-C3BC-4DD4-AEF4-D65BAB07A4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6F2ED60F-C7EB-4015-848D-91F112D98A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2067E09-260F-4BB2-9065-8D50CA5EC9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E1D8FC6-102A-4695-8AFC-5A78AEEA00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2C8E08A-CA21-46F6-9D0F-ED2FC647C5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369B3EA-62C1-4D2D-9FD5-7BFFB2E2B1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8CC8A90-E8E8-477F-8CBF-697F34AC40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96957F7-514B-41EF-B623-7C98FBEDC6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68.09210000000002</c:v>
                </c:pt>
              </c:numCache>
            </c:numRef>
          </c:xVal>
          <c:yVal>
            <c:numRef>
              <c:f>Sheet1!$B$2:$B$2</c:f>
              <c:numCache>
                <c:formatCode>General</c:formatCode>
                <c:ptCount val="1"/>
                <c:pt idx="0">
                  <c:v>1</c:v>
                </c:pt>
              </c:numCache>
            </c:numRef>
          </c:yVal>
          <c:bubbleSize>
            <c:numRef>
              <c:f>Sheet1!$C$2:$C$2</c:f>
              <c:numCache>
                <c:formatCode>General</c:formatCode>
                <c:ptCount val="1"/>
                <c:pt idx="0">
                  <c:v>238602</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2"/>
          <c:min val="2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E1A918D-CB56-4AF1-83E4-884FD36CC9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4E366392-6642-4D7B-A951-CE2D6B256C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F5B7BA5-19A1-4D80-93F7-0C8543E855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A173A42-8F91-4BC4-9893-DE0032ED7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CA1A540-CDED-4FA3-8D8F-96D5158544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A1E1A1F-06F7-437A-B102-9EE3A4078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F159DAD-E1DC-45ED-94FA-B52F4BE486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E44CBB1-0DC9-46D6-A980-39FC06F629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555.08360000000005</c:v>
                </c:pt>
              </c:numCache>
            </c:numRef>
          </c:xVal>
          <c:yVal>
            <c:numRef>
              <c:f>Sheet1!$B$2:$B$2</c:f>
              <c:numCache>
                <c:formatCode>General</c:formatCode>
                <c:ptCount val="1"/>
                <c:pt idx="0">
                  <c:v>1</c:v>
                </c:pt>
              </c:numCache>
            </c:numRef>
          </c:yVal>
          <c:bubbleSize>
            <c:numRef>
              <c:f>Sheet1!$C$2:$C$2</c:f>
              <c:numCache>
                <c:formatCode>General</c:formatCode>
                <c:ptCount val="1"/>
                <c:pt idx="0">
                  <c:v>12418886</c:v>
                </c:pt>
              </c:numCache>
            </c:numRef>
          </c:bubbleSize>
          <c:bubble3D val="0"/>
          <c:extLst>
            <c:ext xmlns:c15="http://schemas.microsoft.com/office/drawing/2012/chart" uri="{02D57815-91ED-43cb-92C2-25804820EDAC}">
              <c15:datalabelsRange>
                <c15:f>Sheet1!$E$2:$E$10</c15:f>
                <c15:dlblRangeCache>
                  <c:ptCount val="9"/>
                  <c:pt idx="0">
                    <c:v>Helio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6"/>
          <c:min val="44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E47FA7D-16A8-4A6B-8A5B-F62776F2C2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59CBF71-5ACC-4AF2-9D6B-2711791835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5524C35-CD23-4E20-9442-C90C88CB9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1A59547-4AA0-40A1-960B-7DB41E901F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5004C26-9EE4-4049-BC50-6BAA09B73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916942E-540A-4935-B14F-8AF3C04D0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936C319-7D73-47D6-B632-0C14EC0F1B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640AFEF-65ED-4CE9-ACBA-F02F158A69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2.5838</c:v>
                </c:pt>
                <c:pt idx="1">
                  <c:v>96.877300000000005</c:v>
                </c:pt>
                <c:pt idx="2">
                  <c:v>239.56800000000001</c:v>
                </c:pt>
                <c:pt idx="3">
                  <c:v>79.946200000000005</c:v>
                </c:pt>
                <c:pt idx="4">
                  <c:v>213.35749999999999</c:v>
                </c:pt>
              </c:numCache>
            </c:numRef>
          </c:xVal>
          <c:yVal>
            <c:numRef>
              <c:f>Sheet1!$B$2:$B$6</c:f>
              <c:numCache>
                <c:formatCode>General</c:formatCode>
                <c:ptCount val="5"/>
                <c:pt idx="0">
                  <c:v>2.4159999999999999</c:v>
                </c:pt>
                <c:pt idx="1">
                  <c:v>0.71699999999999997</c:v>
                </c:pt>
                <c:pt idx="2">
                  <c:v>0.90400000000000003</c:v>
                </c:pt>
                <c:pt idx="3">
                  <c:v>0.61099999999999999</c:v>
                </c:pt>
                <c:pt idx="4">
                  <c:v>0.875</c:v>
                </c:pt>
              </c:numCache>
            </c:numRef>
          </c:yVal>
          <c:bubbleSize>
            <c:numRef>
              <c:f>Sheet1!$C$2:$C$6</c:f>
              <c:numCache>
                <c:formatCode>General</c:formatCode>
                <c:ptCount val="5"/>
                <c:pt idx="0">
                  <c:v>3097552</c:v>
                </c:pt>
                <c:pt idx="1">
                  <c:v>1076307</c:v>
                </c:pt>
                <c:pt idx="2">
                  <c:v>1038048</c:v>
                </c:pt>
                <c:pt idx="3">
                  <c:v>575133</c:v>
                </c:pt>
                <c:pt idx="4">
                  <c:v>393858</c:v>
                </c:pt>
              </c:numCache>
            </c:numRef>
          </c:bubbleSize>
          <c:bubble3D val="0"/>
          <c:extLst>
            <c:ext xmlns:c15="http://schemas.microsoft.com/office/drawing/2012/chart" uri="{02D57815-91ED-43cb-92C2-25804820EDAC}">
              <c15:datalabelsRange>
                <c15:f>Sheet1!$E$2:$E$10</c15:f>
                <c15:dlblRangeCache>
                  <c:ptCount val="9"/>
                  <c:pt idx="0">
                    <c:v>Nivea</c:v>
                  </c:pt>
                  <c:pt idx="1">
                    <c:v>Nuvel</c:v>
                  </c:pt>
                  <c:pt idx="2">
                    <c:v>Banana Boat</c:v>
                  </c:pt>
                  <c:pt idx="3">
                    <c:v>Caribbean Beach</c:v>
                  </c:pt>
                  <c:pt idx="4">
                    <c:v>Hawaiian Trop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1"/>
          <c:min val="6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48DC0CB-3E58-4A9F-AFBC-392276792C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9FED569C-B504-44C5-B00F-2653FABB7D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9C082BA2-C066-4C0D-A126-2D7FD0694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869E7F5-999C-4701-8E89-2F5BC7B9C4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21A2AD2-0A9C-400B-9D12-E42802D2ED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5EEF141-6F9E-4302-BF08-D237B39402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160DCB5-889D-482A-AAD6-6F8A114A97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E3D2BB0-2C15-4649-A784-31EEAED703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77.00709999999998</c:v>
                </c:pt>
              </c:numCache>
            </c:numRef>
          </c:xVal>
          <c:yVal>
            <c:numRef>
              <c:f>Sheet1!$B$2:$B$2</c:f>
              <c:numCache>
                <c:formatCode>General</c:formatCode>
                <c:ptCount val="1"/>
                <c:pt idx="0">
                  <c:v>1</c:v>
                </c:pt>
              </c:numCache>
            </c:numRef>
          </c:yVal>
          <c:bubbleSize>
            <c:numRef>
              <c:f>Sheet1!$C$2:$C$2</c:f>
              <c:numCache>
                <c:formatCode>General</c:formatCode>
                <c:ptCount val="1"/>
                <c:pt idx="0">
                  <c:v>1204704</c:v>
                </c:pt>
              </c:numCache>
            </c:numRef>
          </c:bubbleSize>
          <c:bubble3D val="0"/>
          <c:extLst>
            <c:ext xmlns:c15="http://schemas.microsoft.com/office/drawing/2012/chart" uri="{02D57815-91ED-43cb-92C2-25804820EDAC}">
              <c15:datalabelsRange>
                <c15:f>Sheet1!$E$2:$E$10</c15:f>
                <c15:dlblRangeCache>
                  <c:ptCount val="9"/>
                  <c:pt idx="0">
                    <c:v>Nive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32"/>
          <c:min val="22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71A8F8-179F-4BB6-B064-57BDA93F10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98D001F-2E23-4205-87D0-30EDF02B50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B08BF47-E873-4BB1-B5EA-DBC1204090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E067F2D-2595-4643-9BA5-062D6B89B7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1EF31CA-0536-43BD-8ABF-3F526DBEC4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C21BBDC-D139-4C65-AF3C-ADFD77DB43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245ADDE-6236-42FA-B666-939AC95D52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553386A-F6B5-453D-97B3-2CA7CFA9AD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90.7534</c:v>
                </c:pt>
                <c:pt idx="1">
                  <c:v>174.9836</c:v>
                </c:pt>
                <c:pt idx="2">
                  <c:v>99.850999999999999</c:v>
                </c:pt>
              </c:numCache>
            </c:numRef>
          </c:xVal>
          <c:yVal>
            <c:numRef>
              <c:f>Sheet1!$B$2:$B$4</c:f>
              <c:numCache>
                <c:formatCode>General</c:formatCode>
                <c:ptCount val="3"/>
                <c:pt idx="0">
                  <c:v>1.002</c:v>
                </c:pt>
                <c:pt idx="1">
                  <c:v>0.91300000000000003</c:v>
                </c:pt>
                <c:pt idx="2">
                  <c:v>1.069</c:v>
                </c:pt>
              </c:numCache>
            </c:numRef>
          </c:yVal>
          <c:bubbleSize>
            <c:numRef>
              <c:f>Sheet1!$C$2:$C$4</c:f>
              <c:numCache>
                <c:formatCode>General</c:formatCode>
                <c:ptCount val="3"/>
                <c:pt idx="0">
                  <c:v>4361194</c:v>
                </c:pt>
                <c:pt idx="1">
                  <c:v>309896</c:v>
                </c:pt>
                <c:pt idx="2">
                  <c:v>207790</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9"/>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A725AD5-1A96-49A9-8B19-42A1688847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64555B5-8057-45CC-9FB8-605A9C6DC6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EE2CFD4-5FFC-4CFD-9495-9CACA41829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DE9D75F-D3FF-4A40-9320-A7EECEFC0A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B719EC1-28B6-4B6D-9329-EDD9E508F7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769E6E5-A6D4-48E5-BA37-D0E53F8D21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8A2E490-7A53-468A-A9D6-9C515CFA7E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5ED2EA5-3694-476C-91C9-43F4B353F6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65.83749999999998</c:v>
                </c:pt>
                <c:pt idx="1">
                  <c:v>350.61860000000001</c:v>
                </c:pt>
              </c:numCache>
            </c:numRef>
          </c:xVal>
          <c:yVal>
            <c:numRef>
              <c:f>Sheet1!$B$2:$B$3</c:f>
              <c:numCache>
                <c:formatCode>General</c:formatCode>
                <c:ptCount val="2"/>
                <c:pt idx="0">
                  <c:v>1.0169999999999999</c:v>
                </c:pt>
                <c:pt idx="1">
                  <c:v>0.86699999999999999</c:v>
                </c:pt>
              </c:numCache>
            </c:numRef>
          </c:yVal>
          <c:bubbleSize>
            <c:numRef>
              <c:f>Sheet1!$C$2:$C$3</c:f>
              <c:numCache>
                <c:formatCode>General</c:formatCode>
                <c:ptCount val="2"/>
                <c:pt idx="0">
                  <c:v>310764</c:v>
                </c:pt>
                <c:pt idx="1">
                  <c:v>34010</c:v>
                </c:pt>
              </c:numCache>
            </c:numRef>
          </c:bubbleSize>
          <c:bubble3D val="0"/>
          <c:extLst>
            <c:ext xmlns:c15="http://schemas.microsoft.com/office/drawing/2012/chart" uri="{02D57815-91ED-43cb-92C2-25804820EDAC}">
              <c15:datalabelsRange>
                <c15:f>Sheet1!$E$2:$E$10</c15:f>
                <c15:dlblRangeCache>
                  <c:ptCount val="9"/>
                  <c:pt idx="0">
                    <c:v>Banana Boat</c:v>
                  </c:pt>
                  <c:pt idx="1">
                    <c:v>Neutrogen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21"/>
          <c:min val="21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01E3E21-ECB5-42DC-859B-57D288B068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5615AD94-03D1-4907-B4D2-F03DCBBCE5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DA5F8DC-6764-49F5-9292-332864FDB7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34D9FC3-6B3A-4F0A-8B28-137AD58A2A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C42229D-A6DB-4273-B0BA-605A6EBE36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8226FA8-054F-4A05-8ECA-C0C9DCD266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75DD2E3-F287-4434-88EC-256CBCB231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2B16995-19C4-4973-BC9B-E7DD2AC519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45.64230000000001</c:v>
                </c:pt>
              </c:numCache>
            </c:numRef>
          </c:xVal>
          <c:yVal>
            <c:numRef>
              <c:f>Sheet1!$B$2:$B$2</c:f>
              <c:numCache>
                <c:formatCode>General</c:formatCode>
                <c:ptCount val="1"/>
                <c:pt idx="0">
                  <c:v>1</c:v>
                </c:pt>
              </c:numCache>
            </c:numRef>
          </c:yVal>
          <c:bubbleSize>
            <c:numRef>
              <c:f>Sheet1!$C$2:$C$2</c:f>
              <c:numCache>
                <c:formatCode>General</c:formatCode>
                <c:ptCount val="1"/>
                <c:pt idx="0">
                  <c:v>90642</c:v>
                </c:pt>
              </c:numCache>
            </c:numRef>
          </c:bubbleSize>
          <c:bubble3D val="0"/>
          <c:extLst>
            <c:ext xmlns:c15="http://schemas.microsoft.com/office/drawing/2012/chart" uri="{02D57815-91ED-43cb-92C2-25804820EDAC}">
              <c15:datalabelsRange>
                <c15:f>Sheet1!$E$2:$E$10</c15:f>
                <c15:dlblRangeCache>
                  <c:ptCount val="9"/>
                  <c:pt idx="0">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5"/>
          <c:min val="19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9CC6256-BB5F-408C-A917-7EBB2E17C1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DEB8968-4F9D-4B75-8A56-EE4C1A5CFE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C017B75-9D32-4F7D-BCD4-E9F587936F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77AE3EF-570F-46BD-A4AD-123A94BBAC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4D9A988-DD98-46F7-88D7-3D59ACB603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DEFE113-4381-4549-8638-E067BC32D9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E94507D-38C1-43C1-9AEC-CEC17F849A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C44864F-DD4F-4161-868D-E9EC462B1A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427.95409999999998</c:v>
                </c:pt>
                <c:pt idx="1">
                  <c:v>291.05380000000002</c:v>
                </c:pt>
                <c:pt idx="2">
                  <c:v>195.04</c:v>
                </c:pt>
                <c:pt idx="3">
                  <c:v>160.56739999999999</c:v>
                </c:pt>
              </c:numCache>
            </c:numRef>
          </c:xVal>
          <c:yVal>
            <c:numRef>
              <c:f>Sheet1!$B$2:$B$5</c:f>
              <c:numCache>
                <c:formatCode>General</c:formatCode>
                <c:ptCount val="4"/>
                <c:pt idx="0">
                  <c:v>4.1500000000000004</c:v>
                </c:pt>
                <c:pt idx="1">
                  <c:v>1.1120000000000001</c:v>
                </c:pt>
                <c:pt idx="2">
                  <c:v>0.65400000000000003</c:v>
                </c:pt>
                <c:pt idx="3">
                  <c:v>0.253</c:v>
                </c:pt>
              </c:numCache>
            </c:numRef>
          </c:yVal>
          <c:bubbleSize>
            <c:numRef>
              <c:f>Sheet1!$C$2:$C$5</c:f>
              <c:numCache>
                <c:formatCode>General</c:formatCode>
                <c:ptCount val="4"/>
                <c:pt idx="0">
                  <c:v>1947191</c:v>
                </c:pt>
                <c:pt idx="1">
                  <c:v>400490</c:v>
                </c:pt>
                <c:pt idx="2">
                  <c:v>121900</c:v>
                </c:pt>
                <c:pt idx="3">
                  <c:v>57162</c:v>
                </c:pt>
              </c:numCache>
            </c:numRef>
          </c:bubbleSize>
          <c:bubble3D val="0"/>
          <c:extLst>
            <c:ext xmlns:c15="http://schemas.microsoft.com/office/drawing/2012/chart" uri="{02D57815-91ED-43cb-92C2-25804820EDAC}">
              <c15:datalabelsRange>
                <c15:f>Sheet1!$E$2:$E$10</c15:f>
                <c15:dlblRangeCache>
                  <c:ptCount val="9"/>
                  <c:pt idx="0">
                    <c:v>Isdin</c:v>
                  </c:pt>
                  <c:pt idx="1">
                    <c:v>Eclipsol</c:v>
                  </c:pt>
                  <c:pt idx="2">
                    <c:v>Neutrogena</c:v>
                  </c:pt>
                  <c:pt idx="3">
                    <c:v>Cicatricu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14"/>
          <c:min val="12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08CA5DC-FE2E-405E-9682-8CB94E250A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8AEB0D22-E411-48D5-9D0E-1E6E7CC8F9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729A9F8-EADF-406C-AA3F-6B61D3EAAE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8D69F97-66C9-4E0D-883B-6423E1ED61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6462BCC-217A-4E01-A6B6-851C9CECE9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7E81096-24A4-4622-A8E2-AA875B80BE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55266D8-7228-4E75-9472-AF186D91AA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EEC54DD-AA37-408A-844B-8DC8BFED6A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650.38699999999994</c:v>
                </c:pt>
              </c:numCache>
            </c:numRef>
          </c:xVal>
          <c:yVal>
            <c:numRef>
              <c:f>Sheet1!$B$2:$B$2</c:f>
              <c:numCache>
                <c:formatCode>General</c:formatCode>
                <c:ptCount val="1"/>
                <c:pt idx="0">
                  <c:v>1</c:v>
                </c:pt>
              </c:numCache>
            </c:numRef>
          </c:yVal>
          <c:bubbleSize>
            <c:numRef>
              <c:f>Sheet1!$C$2:$C$2</c:f>
              <c:numCache>
                <c:formatCode>General</c:formatCode>
                <c:ptCount val="1"/>
                <c:pt idx="0">
                  <c:v>290723</c:v>
                </c:pt>
              </c:numCache>
            </c:numRef>
          </c:bubbleSize>
          <c:bubble3D val="0"/>
          <c:extLst>
            <c:ext xmlns:c15="http://schemas.microsoft.com/office/drawing/2012/chart" uri="{02D57815-91ED-43cb-92C2-25804820EDAC}">
              <c15:datalabelsRange>
                <c15:f>Sheet1!$E$2:$E$10</c15:f>
                <c15:dlblRangeCache>
                  <c:ptCount val="9"/>
                  <c:pt idx="0">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80"/>
          <c:min val="5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AA721A7-4051-45B6-ABCE-A720CBEE0B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B9303F3E-F471-456C-887E-CDB66729DB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484C7A7-CB84-45CE-B415-90AF0D010B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EEC4658-3985-4EBA-9CE0-105053316D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FF5E79F-2DC7-4093-AA40-54AC25599B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F667267-99B5-4027-A2D3-84DA32C4B3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A99687B-7269-4737-9E85-DBB1AF13B7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0FDD017-B16F-4D0A-829F-F48A245563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465.66890000000001</c:v>
                </c:pt>
              </c:numCache>
            </c:numRef>
          </c:xVal>
          <c:yVal>
            <c:numRef>
              <c:f>Sheet1!$B$2:$B$2</c:f>
              <c:numCache>
                <c:formatCode>General</c:formatCode>
                <c:ptCount val="1"/>
                <c:pt idx="0">
                  <c:v>1</c:v>
                </c:pt>
              </c:numCache>
            </c:numRef>
          </c:yVal>
          <c:bubbleSize>
            <c:numRef>
              <c:f>Sheet1!$C$2:$C$2</c:f>
              <c:numCache>
                <c:formatCode>General</c:formatCode>
                <c:ptCount val="1"/>
                <c:pt idx="0">
                  <c:v>682205</c:v>
                </c:pt>
              </c:numCache>
            </c:numRef>
          </c:bubbleSize>
          <c:bubble3D val="0"/>
          <c:extLst>
            <c:ext xmlns:c15="http://schemas.microsoft.com/office/drawing/2012/chart" uri="{02D57815-91ED-43cb-92C2-25804820EDAC}">
              <c15:datalabelsRange>
                <c15:f>Sheet1!$E$2:$E$10</c15:f>
                <c15:dlblRangeCache>
                  <c:ptCount val="9"/>
                  <c:pt idx="0">
                    <c:v>Isd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59"/>
          <c:min val="37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C0894E1-6840-4A03-AC0D-6FB270D1CB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84D4805-7B2A-4751-B3C5-50D1F623DC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E467A61-D99F-4F5F-AF14-3FD8DDF26A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166BEB3-BDD3-4102-A106-FBBE823750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B64A0DB-2746-4749-93CF-27C2B091E6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75E3296-FA84-4251-9343-1A2358B3F2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18B5F0C-3369-49E4-8524-9CF61095E2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B8B7271-0AF3-4C98-A4C0-B983E3DFAD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16.6892</c:v>
                </c:pt>
                <c:pt idx="1">
                  <c:v>451.89089999999999</c:v>
                </c:pt>
                <c:pt idx="2">
                  <c:v>209.54249999999999</c:v>
                </c:pt>
                <c:pt idx="3">
                  <c:v>80.124899999999997</c:v>
                </c:pt>
                <c:pt idx="4">
                  <c:v>96.877300000000005</c:v>
                </c:pt>
                <c:pt idx="5">
                  <c:v>173.3228</c:v>
                </c:pt>
                <c:pt idx="6">
                  <c:v>291.05380000000002</c:v>
                </c:pt>
              </c:numCache>
            </c:numRef>
          </c:xVal>
          <c:yVal>
            <c:numRef>
              <c:f>Sheet1!$B$2:$B$8</c:f>
              <c:numCache>
                <c:formatCode>General</c:formatCode>
                <c:ptCount val="7"/>
                <c:pt idx="0">
                  <c:v>1.3069999999999999</c:v>
                </c:pt>
                <c:pt idx="1">
                  <c:v>3.5779999999999998</c:v>
                </c:pt>
                <c:pt idx="2">
                  <c:v>0.88200000000000001</c:v>
                </c:pt>
                <c:pt idx="3">
                  <c:v>0.48299999999999998</c:v>
                </c:pt>
                <c:pt idx="4">
                  <c:v>0.60299999999999998</c:v>
                </c:pt>
                <c:pt idx="5">
                  <c:v>0.80300000000000005</c:v>
                </c:pt>
                <c:pt idx="6">
                  <c:v>1.7410000000000001</c:v>
                </c:pt>
              </c:numCache>
            </c:numRef>
          </c:yVal>
          <c:bubbleSize>
            <c:numRef>
              <c:f>Sheet1!$C$2:$C$8</c:f>
              <c:numCache>
                <c:formatCode>General</c:formatCode>
                <c:ptCount val="7"/>
                <c:pt idx="0">
                  <c:v>8663450</c:v>
                </c:pt>
                <c:pt idx="1">
                  <c:v>2920119</c:v>
                </c:pt>
                <c:pt idx="2">
                  <c:v>2109674</c:v>
                </c:pt>
                <c:pt idx="3">
                  <c:v>1209966</c:v>
                </c:pt>
                <c:pt idx="4">
                  <c:v>1076307</c:v>
                </c:pt>
                <c:pt idx="5">
                  <c:v>983087</c:v>
                </c:pt>
                <c:pt idx="6">
                  <c:v>400490</c:v>
                </c:pt>
              </c:numCache>
            </c:numRef>
          </c:bubbleSize>
          <c:bubble3D val="0"/>
          <c:extLst>
            <c:ext xmlns:c15="http://schemas.microsoft.com/office/drawing/2012/chart" uri="{02D57815-91ED-43cb-92C2-25804820EDAC}">
              <c15:datalabelsRange>
                <c15:f>Sheet1!$E$2:$E$10</c15:f>
                <c15:dlblRangeCache>
                  <c:ptCount val="9"/>
                  <c:pt idx="0">
                    <c:v>Nivea</c:v>
                  </c:pt>
                  <c:pt idx="1">
                    <c:v>Isdin</c:v>
                  </c:pt>
                  <c:pt idx="2">
                    <c:v>Banana Boat</c:v>
                  </c:pt>
                  <c:pt idx="3">
                    <c:v>Caribbean Beach</c:v>
                  </c:pt>
                  <c:pt idx="4">
                    <c:v>Nuvel</c:v>
                  </c:pt>
                  <c:pt idx="5">
                    <c:v>Hawaiian Tropic</c:v>
                  </c:pt>
                  <c:pt idx="6">
                    <c:v>Eclipso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2"/>
          <c:min val="6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01BEEEA-C895-468C-B3AB-C017DE0F37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C8DB911-472A-4538-95B0-0726E3FA27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5EAA9CD-7218-462D-8847-B9AA6BCB5F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479F515-0759-4402-8F6A-78B265D1E5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A1730AC-184C-4E03-8A67-9BD6C62173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A71F8C4-AFF5-4E46-8950-14789F36DB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B167F16-0E00-43AC-808D-6871D0F239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BDFF26F-F2CE-408D-8088-50A9065E4F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481.0222</c:v>
                </c:pt>
                <c:pt idx="1">
                  <c:v>173.14</c:v>
                </c:pt>
              </c:numCache>
            </c:numRef>
          </c:xVal>
          <c:yVal>
            <c:numRef>
              <c:f>Sheet1!$B$2:$B$3</c:f>
              <c:numCache>
                <c:formatCode>General</c:formatCode>
                <c:ptCount val="2"/>
                <c:pt idx="0">
                  <c:v>0.95199999999999996</c:v>
                </c:pt>
                <c:pt idx="1">
                  <c:v>1.143</c:v>
                </c:pt>
              </c:numCache>
            </c:numRef>
          </c:yVal>
          <c:bubbleSize>
            <c:numRef>
              <c:f>Sheet1!$C$2:$C$3</c:f>
              <c:numCache>
                <c:formatCode>General</c:formatCode>
                <c:ptCount val="2"/>
                <c:pt idx="0">
                  <c:v>21646</c:v>
                </c:pt>
                <c:pt idx="1">
                  <c:v>8657</c:v>
                </c:pt>
              </c:numCache>
            </c:numRef>
          </c:bubbleSize>
          <c:bubble3D val="0"/>
          <c:extLst>
            <c:ext xmlns:c15="http://schemas.microsoft.com/office/drawing/2012/chart" uri="{02D57815-91ED-43cb-92C2-25804820EDAC}">
              <c15:datalabelsRange>
                <c15:f>Sheet1!$E$2:$E$10</c15:f>
                <c15:dlblRangeCache>
                  <c:ptCount val="9"/>
                  <c:pt idx="0">
                    <c:v>Eucerin</c:v>
                  </c:pt>
                  <c:pt idx="1">
                    <c:v>Loreal Par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77"/>
          <c:min val="13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72AE16E-080C-442C-9FDA-A7F77B6463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6A5E49B-C636-4628-AE69-0ECC783D78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056664E-10F7-4C00-B73B-B3431C836C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A845D18-BFAD-42D6-899C-3F448139F1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A1DC62C-5D72-466F-8402-1350816D38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74DB61A-B3E7-4D76-BB81-B8F1BB3A5E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204A19E-86E5-4313-AE08-1CE00ECC4E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9EF8BDB-0261-4253-9044-5774FC0216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80.287499999999994</c:v>
                </c:pt>
                <c:pt idx="1">
                  <c:v>262.4024</c:v>
                </c:pt>
                <c:pt idx="2">
                  <c:v>100.1447</c:v>
                </c:pt>
              </c:numCache>
            </c:numRef>
          </c:xVal>
          <c:yVal>
            <c:numRef>
              <c:f>Sheet1!$B$2:$B$4</c:f>
              <c:numCache>
                <c:formatCode>General</c:formatCode>
                <c:ptCount val="3"/>
                <c:pt idx="0">
                  <c:v>0.89300000000000002</c:v>
                </c:pt>
                <c:pt idx="1">
                  <c:v>1.7010000000000001</c:v>
                </c:pt>
                <c:pt idx="2">
                  <c:v>0.83199999999999996</c:v>
                </c:pt>
              </c:numCache>
            </c:numRef>
          </c:yVal>
          <c:bubbleSize>
            <c:numRef>
              <c:f>Sheet1!$C$2:$C$4</c:f>
              <c:numCache>
                <c:formatCode>General</c:formatCode>
                <c:ptCount val="3"/>
                <c:pt idx="0">
                  <c:v>634833</c:v>
                </c:pt>
                <c:pt idx="1">
                  <c:v>194965</c:v>
                </c:pt>
                <c:pt idx="2">
                  <c:v>22833</c:v>
                </c:pt>
              </c:numCache>
            </c:numRef>
          </c:bubbleSize>
          <c:bubble3D val="0"/>
          <c:extLst>
            <c:ext xmlns:c15="http://schemas.microsoft.com/office/drawing/2012/chart" uri="{02D57815-91ED-43cb-92C2-25804820EDAC}">
              <c15:datalabelsRange>
                <c15:f>Sheet1!$E$2:$E$10</c15:f>
                <c15:dlblRangeCache>
                  <c:ptCount val="9"/>
                  <c:pt idx="0">
                    <c:v>Caribbean Beach</c:v>
                  </c:pt>
                  <c:pt idx="1">
                    <c:v>Banana Boat</c:v>
                  </c:pt>
                  <c:pt idx="2">
                    <c:v>Copperto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5"/>
          <c:min val="6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4C7A613-37AF-4116-902E-4350E9D2D0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0664EE-67AE-43A4-8F0E-DA693F5062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6A56FD9-5D6B-4CFD-8895-930F3C15D1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2E1ECC4-1903-448F-96A7-843C68D456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9212F6F-9646-4CA5-84E7-ACBDB45685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9FD37D7-766C-489A-B7C8-524736D499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A4563A5-BF43-43D8-B6FA-6AF5E52A6C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4B136DD-CAA3-48FF-A946-AF3B977C25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135.92850000000001</c:v>
                </c:pt>
                <c:pt idx="1">
                  <c:v>191.65270000000001</c:v>
                </c:pt>
              </c:numCache>
            </c:numRef>
          </c:xVal>
          <c:yVal>
            <c:numRef>
              <c:f>Sheet1!$B$2:$B$3</c:f>
              <c:numCache>
                <c:formatCode>General</c:formatCode>
                <c:ptCount val="2"/>
                <c:pt idx="0">
                  <c:v>0.99399999999999999</c:v>
                </c:pt>
                <c:pt idx="1">
                  <c:v>1.012</c:v>
                </c:pt>
              </c:numCache>
            </c:numRef>
          </c:yVal>
          <c:bubbleSize>
            <c:numRef>
              <c:f>Sheet1!$C$2:$C$3</c:f>
              <c:numCache>
                <c:formatCode>General</c:formatCode>
                <c:ptCount val="2"/>
                <c:pt idx="0">
                  <c:v>279333</c:v>
                </c:pt>
                <c:pt idx="1">
                  <c:v>151214</c:v>
                </c:pt>
              </c:numCache>
            </c:numRef>
          </c:bubbleSize>
          <c:bubble3D val="0"/>
          <c:extLst>
            <c:ext xmlns:c15="http://schemas.microsoft.com/office/drawing/2012/chart" uri="{02D57815-91ED-43cb-92C2-25804820EDAC}">
              <c15:datalabelsRange>
                <c15:f>Sheet1!$E$2:$E$10</c15:f>
                <c15:dlblRangeCache>
                  <c:ptCount val="9"/>
                  <c:pt idx="0">
                    <c:v>Hawaiian Tropic</c:v>
                  </c:pt>
                  <c:pt idx="1">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0"/>
          <c:min val="10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DCFF7B5-5031-4065-9860-385EA2895F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00C67EE-2E37-499B-8A89-5E994D2DE5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ADA87C9-1A6F-4202-80D3-80AC2C9BFC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4090E3F-4660-4420-B7E2-5F8CE4B0AE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6A362FB-CBB5-42E5-8D7A-2952F3D60B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EEF9FEC-9011-4A8C-88D5-FA26B4F6A5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D3F5E2B-5A3E-4674-AB82-177CFAD0BB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B75004A-47F3-4ABE-AE28-B12411B50C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17.09649999999999</c:v>
                </c:pt>
                <c:pt idx="1">
                  <c:v>188.4854</c:v>
                </c:pt>
              </c:numCache>
            </c:numRef>
          </c:xVal>
          <c:yVal>
            <c:numRef>
              <c:f>Sheet1!$B$2:$B$3</c:f>
              <c:numCache>
                <c:formatCode>General</c:formatCode>
                <c:ptCount val="2"/>
                <c:pt idx="0">
                  <c:v>1.1040000000000001</c:v>
                </c:pt>
                <c:pt idx="1">
                  <c:v>0.83199999999999996</c:v>
                </c:pt>
              </c:numCache>
            </c:numRef>
          </c:yVal>
          <c:bubbleSize>
            <c:numRef>
              <c:f>Sheet1!$C$2:$C$3</c:f>
              <c:numCache>
                <c:formatCode>General</c:formatCode>
                <c:ptCount val="2"/>
                <c:pt idx="0">
                  <c:v>206893</c:v>
                </c:pt>
                <c:pt idx="1">
                  <c:v>51645</c:v>
                </c:pt>
              </c:numCache>
            </c:numRef>
          </c:bubbleSize>
          <c:bubble3D val="0"/>
          <c:extLst>
            <c:ext xmlns:c15="http://schemas.microsoft.com/office/drawing/2012/chart" uri="{02D57815-91ED-43cb-92C2-25804820EDAC}">
              <c15:datalabelsRange>
                <c15:f>Sheet1!$E$2:$E$10</c15:f>
                <c15:dlblRangeCache>
                  <c:ptCount val="9"/>
                  <c:pt idx="0">
                    <c:v>Banana Boat</c:v>
                  </c:pt>
                  <c:pt idx="1">
                    <c:v>Copperton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61"/>
          <c:min val="15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D8D752E-9700-49C8-8D0D-71D62D0702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CCD0220-1CCF-47F3-94FE-5A9EDF428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AAC0562-16C7-4F39-B561-8B5255700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2DDDCFF-CF00-48FB-943E-3414C8B814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9AF618A-1D56-47D6-BC8D-CE21BB533A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8DC0313-5FA9-4CE9-ADA2-426962E2A1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5C79634-F4B5-466F-931A-4355D46A9E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9FC7DD9-0A7A-4B2B-B724-ED53E82CF4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3.6815</c:v>
                </c:pt>
                <c:pt idx="1">
                  <c:v>238.27600000000001</c:v>
                </c:pt>
                <c:pt idx="2">
                  <c:v>89.001400000000004</c:v>
                </c:pt>
                <c:pt idx="3">
                  <c:v>232.46729999999999</c:v>
                </c:pt>
                <c:pt idx="4">
                  <c:v>74.360500000000002</c:v>
                </c:pt>
                <c:pt idx="5">
                  <c:v>185.8261</c:v>
                </c:pt>
              </c:numCache>
            </c:numRef>
          </c:xVal>
          <c:yVal>
            <c:numRef>
              <c:f>Sheet1!$B$2:$B$7</c:f>
              <c:numCache>
                <c:formatCode>General</c:formatCode>
                <c:ptCount val="6"/>
                <c:pt idx="0">
                  <c:v>1.7609999999999999</c:v>
                </c:pt>
                <c:pt idx="1">
                  <c:v>0.88600000000000001</c:v>
                </c:pt>
                <c:pt idx="2">
                  <c:v>0.51300000000000001</c:v>
                </c:pt>
                <c:pt idx="3">
                  <c:v>0.79500000000000004</c:v>
                </c:pt>
                <c:pt idx="4">
                  <c:v>0.47499999999999998</c:v>
                </c:pt>
                <c:pt idx="5">
                  <c:v>3.6080000000000001</c:v>
                </c:pt>
              </c:numCache>
            </c:numRef>
          </c:yVal>
          <c:bubbleSize>
            <c:numRef>
              <c:f>Sheet1!$C$2:$C$7</c:f>
              <c:numCache>
                <c:formatCode>General</c:formatCode>
                <c:ptCount val="6"/>
                <c:pt idx="0">
                  <c:v>216369464</c:v>
                </c:pt>
                <c:pt idx="1">
                  <c:v>72656085</c:v>
                </c:pt>
                <c:pt idx="2">
                  <c:v>45796727</c:v>
                </c:pt>
                <c:pt idx="3">
                  <c:v>31335423</c:v>
                </c:pt>
                <c:pt idx="4">
                  <c:v>23746346</c:v>
                </c:pt>
                <c:pt idx="5">
                  <c:v>20689324</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Caribbean Beach</c:v>
                  </c:pt>
                  <c:pt idx="3">
                    <c:v>Banana Boat</c:v>
                  </c:pt>
                  <c:pt idx="4">
                    <c:v>Nuvel</c:v>
                  </c:pt>
                  <c:pt idx="5">
                    <c:v>Garni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2"/>
          <c:min val="59"/>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6EF102-890D-465A-B139-7359244287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6E88ABA-1F02-40C1-8ED2-9CCF7FE903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3D4D23A-33DB-48E8-976C-F29606F2F9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89CD5AD-A77A-4338-ADCF-D0170A84F5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29BD888-885A-4006-82DD-28DCCFDB22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9553FA2-EEF4-4275-B95E-C4AB731706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1230489-59B8-452D-95ED-D92643C644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5596AFF-3354-4D64-8D82-A6A0C83CAB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43.3535</c:v>
                </c:pt>
                <c:pt idx="1">
                  <c:v>269.45240000000001</c:v>
                </c:pt>
              </c:numCache>
            </c:numRef>
          </c:xVal>
          <c:yVal>
            <c:numRef>
              <c:f>Sheet1!$B$2:$B$3</c:f>
              <c:numCache>
                <c:formatCode>General</c:formatCode>
                <c:ptCount val="2"/>
                <c:pt idx="0">
                  <c:v>1.0029999999999999</c:v>
                </c:pt>
                <c:pt idx="1">
                  <c:v>0.91100000000000003</c:v>
                </c:pt>
              </c:numCache>
            </c:numRef>
          </c:yVal>
          <c:bubbleSize>
            <c:numRef>
              <c:f>Sheet1!$C$2:$C$3</c:f>
              <c:numCache>
                <c:formatCode>General</c:formatCode>
                <c:ptCount val="2"/>
                <c:pt idx="0">
                  <c:v>11123445</c:v>
                </c:pt>
                <c:pt idx="1">
                  <c:v>676056</c:v>
                </c:pt>
              </c:numCache>
            </c:numRef>
          </c:bubbleSize>
          <c:bubble3D val="0"/>
          <c:extLst>
            <c:ext xmlns:c15="http://schemas.microsoft.com/office/drawing/2012/chart" uri="{02D57815-91ED-43cb-92C2-25804820EDAC}">
              <c15:datalabelsRange>
                <c15:f>Sheet1!$E$2:$E$10</c15:f>
                <c15:dlblRangeCache>
                  <c:ptCount val="9"/>
                  <c:pt idx="0">
                    <c:v>Nivea</c:v>
                  </c:pt>
                  <c:pt idx="1">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3"/>
          <c:min val="19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F82641E-7414-43F4-8376-AD094A76EE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59CD2008-5F42-499B-BEDD-C7DD188224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4161507-A055-44F4-92F0-99B5014B4F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F78C099-4AFF-4088-8A1D-38D294A9B3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32556D6-86A3-494B-8660-6832AF2070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92BD58F-8148-4D16-8E81-2FFBD831DD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FD46242-E8C2-412F-AF64-6A0865A9C0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DE2862F-46DF-4AE6-9EEE-A2C2ECFBCF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58.05040000000002</c:v>
                </c:pt>
              </c:numCache>
            </c:numRef>
          </c:xVal>
          <c:yVal>
            <c:numRef>
              <c:f>Sheet1!$B$2:$B$2</c:f>
              <c:numCache>
                <c:formatCode>General</c:formatCode>
                <c:ptCount val="1"/>
                <c:pt idx="0">
                  <c:v>1</c:v>
                </c:pt>
              </c:numCache>
            </c:numRef>
          </c:yVal>
          <c:bubbleSize>
            <c:numRef>
              <c:f>Sheet1!$C$2:$C$2</c:f>
              <c:numCache>
                <c:formatCode>General</c:formatCode>
                <c:ptCount val="1"/>
                <c:pt idx="0">
                  <c:v>91166125</c:v>
                </c:pt>
              </c:numCache>
            </c:numRef>
          </c:bubbleSize>
          <c:bubble3D val="0"/>
          <c:extLst>
            <c:ext xmlns:c15="http://schemas.microsoft.com/office/drawing/2012/chart" uri="{02D57815-91ED-43cb-92C2-25804820EDAC}">
              <c15:datalabelsRange>
                <c15:f>Sheet1!$E$2:$E$10</c15:f>
                <c15:dlblRangeCache>
                  <c:ptCount val="9"/>
                  <c:pt idx="0">
                    <c:v>Nive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0"/>
          <c:min val="20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1A27DBA-8907-4331-8F61-2CC4513989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FFBB162-FE9C-442C-9127-D32C18468C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1C16651-EC58-4980-8DBD-2B46B3EAEC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749D948-5B9C-47A2-9B41-D8842F51F0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48F01C8-53B9-414A-BFC2-BD171BF2DD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BCF7CC9-B680-4E52-AA12-42BEBDF02F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3351AFC-3AFA-4D92-B44D-6AA22D3438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2F79E5A-E74E-4757-8418-0ADB8FC503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36.91249999999999</c:v>
                </c:pt>
                <c:pt idx="1">
                  <c:v>198.9674</c:v>
                </c:pt>
                <c:pt idx="2">
                  <c:v>179.7756</c:v>
                </c:pt>
                <c:pt idx="3">
                  <c:v>206.30250000000001</c:v>
                </c:pt>
              </c:numCache>
            </c:numRef>
          </c:xVal>
          <c:yVal>
            <c:numRef>
              <c:f>Sheet1!$B$2:$B$5</c:f>
              <c:numCache>
                <c:formatCode>General</c:formatCode>
                <c:ptCount val="4"/>
                <c:pt idx="0">
                  <c:v>1.006</c:v>
                </c:pt>
                <c:pt idx="1">
                  <c:v>0.94699999999999995</c:v>
                </c:pt>
                <c:pt idx="2">
                  <c:v>0.93</c:v>
                </c:pt>
                <c:pt idx="3">
                  <c:v>3.02</c:v>
                </c:pt>
              </c:numCache>
            </c:numRef>
          </c:yVal>
          <c:bubbleSize>
            <c:numRef>
              <c:f>Sheet1!$C$2:$C$5</c:f>
              <c:numCache>
                <c:formatCode>General</c:formatCode>
                <c:ptCount val="4"/>
                <c:pt idx="0">
                  <c:v>204773926</c:v>
                </c:pt>
                <c:pt idx="1">
                  <c:v>122783796</c:v>
                </c:pt>
                <c:pt idx="2">
                  <c:v>43021549</c:v>
                </c:pt>
                <c:pt idx="3">
                  <c:v>12459021</c:v>
                </c:pt>
              </c:numCache>
            </c:numRef>
          </c:bubbleSize>
          <c:bubble3D val="0"/>
          <c:extLst>
            <c:ext xmlns:c15="http://schemas.microsoft.com/office/drawing/2012/chart" uri="{02D57815-91ED-43cb-92C2-25804820EDAC}">
              <c15:datalabelsRange>
                <c15:f>Sheet1!$E$2:$E$10</c15:f>
                <c15:dlblRangeCache>
                  <c:ptCount val="9"/>
                  <c:pt idx="0">
                    <c:v>Nivea</c:v>
                  </c:pt>
                  <c:pt idx="1">
                    <c:v>Hawaiian Tropic</c:v>
                  </c:pt>
                  <c:pt idx="2">
                    <c:v>Banana Boat</c:v>
                  </c:pt>
                  <c:pt idx="3">
                    <c:v>Beauty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4"/>
          <c:min val="14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EB498BC-F1DE-41CA-8F2F-B2DEFE783E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D990C34-C2B3-4B75-8C06-B705D86EFB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711A4B5-5110-41B0-9803-F629404C25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4CBD2F3-6DDD-476C-A398-D1EAE8662D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44CD486-5DB8-43ED-8E1C-A2BC74113C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53B68A5-B3F2-40F7-9E7A-67A55F1A66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4D4A014-27B3-4BD3-949A-327D964098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B807B15-490B-4DD7-B978-663B2F09BB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250.3373</c:v>
                </c:pt>
                <c:pt idx="1">
                  <c:v>424.61759999999998</c:v>
                </c:pt>
              </c:numCache>
            </c:numRef>
          </c:xVal>
          <c:yVal>
            <c:numRef>
              <c:f>Sheet1!$B$2:$B$3</c:f>
              <c:numCache>
                <c:formatCode>General</c:formatCode>
                <c:ptCount val="2"/>
                <c:pt idx="0">
                  <c:v>0.98299999999999998</c:v>
                </c:pt>
                <c:pt idx="1">
                  <c:v>6.0019999999999998</c:v>
                </c:pt>
              </c:numCache>
            </c:numRef>
          </c:yVal>
          <c:bubbleSize>
            <c:numRef>
              <c:f>Sheet1!$C$2:$C$3</c:f>
              <c:numCache>
                <c:formatCode>General</c:formatCode>
                <c:ptCount val="2"/>
                <c:pt idx="0">
                  <c:v>46575760</c:v>
                </c:pt>
                <c:pt idx="1">
                  <c:v>989359</c:v>
                </c:pt>
              </c:numCache>
            </c:numRef>
          </c:bubbleSize>
          <c:bubble3D val="0"/>
          <c:extLst>
            <c:ext xmlns:c15="http://schemas.microsoft.com/office/drawing/2012/chart" uri="{02D57815-91ED-43cb-92C2-25804820EDAC}">
              <c15:datalabelsRange>
                <c15:f>Sheet1!$E$2:$E$10</c15:f>
                <c15:dlblRangeCache>
                  <c:ptCount val="9"/>
                  <c:pt idx="0">
                    <c:v>Banana Boat</c:v>
                  </c:pt>
                  <c:pt idx="1">
                    <c:v>Mustel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10"/>
          <c:min val="2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9EC4D1C-1CEE-4E60-8284-D72F175A03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DDD31AF4-9C65-4B10-B89C-B3119BABBC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B2A83FF-7993-4FBC-9410-6035D5FFC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18F1CA4-4308-48A2-8D0A-5387CD71BC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49F5974-D8AE-4959-86AA-59581A9BF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136DB8E-3C2F-45F9-9F29-DB4208DA04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545CB30-5664-4E96-B53B-1AAFAD4582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F611481-5ACA-4514-B591-54DE39EEE8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04.67789999999999</c:v>
                </c:pt>
              </c:numCache>
            </c:numRef>
          </c:xVal>
          <c:yVal>
            <c:numRef>
              <c:f>Sheet1!$B$2:$B$2</c:f>
              <c:numCache>
                <c:formatCode>General</c:formatCode>
                <c:ptCount val="1"/>
                <c:pt idx="0">
                  <c:v>1</c:v>
                </c:pt>
              </c:numCache>
            </c:numRef>
          </c:yVal>
          <c:bubbleSize>
            <c:numRef>
              <c:f>Sheet1!$C$2:$C$2</c:f>
              <c:numCache>
                <c:formatCode>General</c:formatCode>
                <c:ptCount val="1"/>
                <c:pt idx="0">
                  <c:v>1562716</c:v>
                </c:pt>
              </c:numCache>
            </c:numRef>
          </c:bubbleSize>
          <c:bubble3D val="0"/>
          <c:extLst>
            <c:ext xmlns:c15="http://schemas.microsoft.com/office/drawing/2012/chart" uri="{02D57815-91ED-43cb-92C2-25804820EDAC}">
              <c15:datalabelsRange>
                <c15:f>Sheet1!$E$2:$E$10</c15:f>
                <c15:dlblRangeCache>
                  <c:ptCount val="9"/>
                  <c:pt idx="0">
                    <c:v>Banana Boa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46"/>
          <c:min val="16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7/02/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2/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2/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2/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2/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2/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00.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01.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02.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103.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04.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5.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6.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07.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08.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0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10.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11.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12.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13.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114.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115.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116.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117.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2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1.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2.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5.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6.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8.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39.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1.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118.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119.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120.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121.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122.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123.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124.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125.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126.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127.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128.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129.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130.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131.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132.xml"/><Relationship Id="rId4" Type="http://schemas.openxmlformats.org/officeDocument/2006/relationships/image" Target="../media/image28.emf"/></Relationships>
</file>

<file path=ppt/slides/_rels/slide1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4.xml"/><Relationship Id="rId5" Type="http://schemas.openxmlformats.org/officeDocument/2006/relationships/chart" Target="../charts/chart133.xml"/><Relationship Id="rId4" Type="http://schemas.openxmlformats.org/officeDocument/2006/relationships/image" Target="../media/image28.emf"/></Relationships>
</file>

<file path=ppt/slides/_rels/slide1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5.xml"/><Relationship Id="rId5" Type="http://schemas.openxmlformats.org/officeDocument/2006/relationships/chart" Target="../charts/chart134.xml"/><Relationship Id="rId4" Type="http://schemas.openxmlformats.org/officeDocument/2006/relationships/image" Target="../media/image28.emf"/></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6.xml"/><Relationship Id="rId5" Type="http://schemas.openxmlformats.org/officeDocument/2006/relationships/chart" Target="../charts/chart13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7.xml"/><Relationship Id="rId5" Type="http://schemas.openxmlformats.org/officeDocument/2006/relationships/chart" Target="../charts/chart136.xml"/><Relationship Id="rId4" Type="http://schemas.openxmlformats.org/officeDocument/2006/relationships/image" Target="../media/image2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8.xml"/><Relationship Id="rId5" Type="http://schemas.openxmlformats.org/officeDocument/2006/relationships/chart" Target="../charts/chart137.xml"/><Relationship Id="rId4" Type="http://schemas.openxmlformats.org/officeDocument/2006/relationships/image" Target="../media/image28.emf"/></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9.xml"/><Relationship Id="rId5" Type="http://schemas.openxmlformats.org/officeDocument/2006/relationships/chart" Target="../charts/chart138.xml"/><Relationship Id="rId4" Type="http://schemas.openxmlformats.org/officeDocument/2006/relationships/image" Target="../media/image28.emf"/></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0.xml"/><Relationship Id="rId5" Type="http://schemas.openxmlformats.org/officeDocument/2006/relationships/chart" Target="../charts/chart139.xml"/><Relationship Id="rId4" Type="http://schemas.openxmlformats.org/officeDocument/2006/relationships/image" Target="../media/image28.emf"/></Relationships>
</file>

<file path=ppt/slides/_rels/slide1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1.xml"/><Relationship Id="rId5" Type="http://schemas.openxmlformats.org/officeDocument/2006/relationships/chart" Target="../charts/chart140.xml"/><Relationship Id="rId4" Type="http://schemas.openxmlformats.org/officeDocument/2006/relationships/image" Target="../media/image28.emf"/></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2.xml"/><Relationship Id="rId5" Type="http://schemas.openxmlformats.org/officeDocument/2006/relationships/chart" Target="../charts/chart141.xml"/><Relationship Id="rId4" Type="http://schemas.openxmlformats.org/officeDocument/2006/relationships/image" Target="../media/image28.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3.xml"/><Relationship Id="rId5" Type="http://schemas.openxmlformats.org/officeDocument/2006/relationships/chart" Target="../charts/chart142.xml"/><Relationship Id="rId4" Type="http://schemas.openxmlformats.org/officeDocument/2006/relationships/image" Target="../media/image28.emf"/></Relationships>
</file>

<file path=ppt/slides/_rels/slide1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4.xml"/><Relationship Id="rId5" Type="http://schemas.openxmlformats.org/officeDocument/2006/relationships/chart" Target="../charts/chart143.xml"/><Relationship Id="rId4" Type="http://schemas.openxmlformats.org/officeDocument/2006/relationships/image" Target="../media/image28.emf"/></Relationships>
</file>

<file path=ppt/slides/_rels/slide1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5.xml"/><Relationship Id="rId5" Type="http://schemas.openxmlformats.org/officeDocument/2006/relationships/chart" Target="../charts/chart144.xml"/><Relationship Id="rId4" Type="http://schemas.openxmlformats.org/officeDocument/2006/relationships/image" Target="../media/image28.emf"/></Relationships>
</file>

<file path=ppt/slides/_rels/slide1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6.xml"/><Relationship Id="rId5" Type="http://schemas.openxmlformats.org/officeDocument/2006/relationships/chart" Target="../charts/chart145.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97.xml"/><Relationship Id="rId5" Type="http://schemas.openxmlformats.org/officeDocument/2006/relationships/chart" Target="../charts/chart146.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67.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68.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69.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70.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7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72.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73.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74.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75.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7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77.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78.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79.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80.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8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82.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83.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84.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85.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8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87.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88.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89.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90.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9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92.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93.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94.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95.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9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97.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98.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9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562312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291330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709313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9233105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Cosmetics Seru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341148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982066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Cosmetics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101947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6900900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Cosmetics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239081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1612976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Derma Aceit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754381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2136293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Derma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630214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0488524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Derma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211225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6988491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Derma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56124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2027385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Derma Gel-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179669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8983169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Derma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98892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3503077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Derma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025247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726249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Cosmetics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68937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2970776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Derma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453731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7213536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Derma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874673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3600444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Sport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435342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648919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Sport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319398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3246573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Sport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695879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2882760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Sport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869282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2267303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Sport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123574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55742829"/>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Sport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168386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23382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8.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40.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39.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4.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5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37049007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Canal Modern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7.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99.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7.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6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9.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66.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038036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Cosmetics Emuls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272844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24465968"/>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Convenience + Farmacias Cad + Hard Discounter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69.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98.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5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27.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56.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6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01689610"/>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Canal Tradic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8.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87.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9.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6.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4.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7255655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8.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6.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80.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30.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9466528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Crema (2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58.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45.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07.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0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3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Crema (1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8.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6.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9.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0.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6.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Gar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0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Liquido (1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Fluido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0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79.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4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8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76.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79.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Gel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56.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6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8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84.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76.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etaph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9.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Gel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8.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7523201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Liq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oreal Par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7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5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05.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9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etaph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25.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8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Liq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Crema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7.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7.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Locion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9.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92.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Aceit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6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80.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77.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8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Gel-Crema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2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36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5064550"/>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Stick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00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Locio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Spray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5.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60.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Genov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4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Fluido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5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8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Loci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3.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13.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65.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erum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ar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72391635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port Sti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25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ti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4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pra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6.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Ocean Po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68.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28.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port Spra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34.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Ocean Po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28.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7.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4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0062694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Emulsi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0.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98665720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Canal Modern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Crema (2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1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9.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48.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0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54.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8.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Crema (1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2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8.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7.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7.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Gar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55.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Liquido (1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0.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7.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6.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Fluido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29.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2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18.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64.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4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90.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Gel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5.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87.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90.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50.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99.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etaph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53.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Gel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9.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8167187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Canal Modern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Liq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oreal Par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2.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30.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09.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32.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etaph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3.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98.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Liq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4.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8.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Crema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2.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0.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Locion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6.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78.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Aceit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4.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78.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9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5.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Gel-Crema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77.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992.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3647990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Cosmetics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166827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3731696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Canal Modern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Stick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589.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Locio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6.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Spray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8.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09.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Genov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3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Fluido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18.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04.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Loci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50.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9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32.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erum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ar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4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3688564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Canal Moderno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port Sti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89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ti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95.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pra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Ocean Po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89.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port Spra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8.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Ocean Po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0.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3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48.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2443819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Convenience + Farmacias Cad + Hard Discounter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Crema (3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5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7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89.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94.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4.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0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Fluido (1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18.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36.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79.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48.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30.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11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Gel (1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0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17.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74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38.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583.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etaph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26.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Liquido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7.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9.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Crema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40.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8.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7.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Gar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4.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Liquido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1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78.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8.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etaph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85.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Loreal Par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0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2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00592336"/>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Convenience + Farmacias Cad + Hard Discounter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Aceite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88.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48.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9.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86.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15.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Gel-Crema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4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2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Liquido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7.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Gel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5.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Stick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27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Spray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0.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2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Genov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3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33929930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Convenience + Farmacias Cad + Hard Discounter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port Crema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4.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6.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Locio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7.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78.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6.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Stick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99.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port Locio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6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Locio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82.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9.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09.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ti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6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7922500"/>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Convenience + Farmacias Cad + Hard Discounter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Fluido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70.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erum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ar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6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82.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Aceite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52.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port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65.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40005852"/>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Canal Tradic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Crema (3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17.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7.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Crema (2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9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8.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9.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Cicatricu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9.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Liquido (1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82.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9.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3.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Gel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8.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Crema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3.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7.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opperto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Gel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4.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5061088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Canal Tradic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port Liquido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8.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7.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Locio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9.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Fluido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14.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Sport Locio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opperto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erum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ar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4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Liquido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07.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Loreal Par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8.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471066148"/>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Crema (2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9.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0.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0.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Gar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2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Liquido (2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2.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0.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Crema (1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9.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48.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93.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64.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6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5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Gel (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Liquido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9.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8.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Crema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5.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24013626"/>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Locion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9.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44.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Fl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57.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96.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0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1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58.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Gel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9.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75.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6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519.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etaph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39.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Liquido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oreal Par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87.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65.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4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1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etaph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0.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3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Locion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2.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Aceite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5.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0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38.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470706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Cosmetics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936872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0179444"/>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Fluido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0.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33.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erum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arni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88.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Cosmetics Sti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54.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Spra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4.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Ocean Po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16.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Sti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148.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Loci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0.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19.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5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4287371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2/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Derma Spra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25.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77.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Genov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Gel-Crema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9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Spra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7.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Ocean Pot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00.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8.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Roll-On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85.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Stick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Helio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85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6238316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Nat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18074220"/>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Canal Modern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6594278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Convenience + Farmacias Cad + Hard Discounte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2895656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Canal Tradicion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01353321"/>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Autos Sc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6483939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67853190"/>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52784595"/>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800080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Cosmetics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161598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73592803"/>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Tradicional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52214335"/>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69391097"/>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Cosmetics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46810872"/>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Cosmetics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2725082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Derma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8208568"/>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Derma Fl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10513836"/>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unscreen Derma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082352"/>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Cosmetics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73887440"/>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Cosmetics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39230934"/>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Derma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287398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Cosmetics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941153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68930447"/>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Derma Fl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9179856"/>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Moderno | Sunscreen Derma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36176836"/>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Cosmetics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73486591"/>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Derma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74564089"/>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Derma Fl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34016705"/>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onvenience + Farmacias Cad + Hard Discounters | Sunscreen Derma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138051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nal Tradicional | Sunscreen Cosmetics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32592809"/>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Cosmetics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94929012"/>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Cosmetics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9372775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Derma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032321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Cosmetics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111773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50602597"/>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2/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Derma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207231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Cosmetics Seru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305883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168240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Cosmetics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857088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918022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Canal Modern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318078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252395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Cosmetics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965104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20735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Derma Aceit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020800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98436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Derma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500432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010455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Derma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169817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56038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Derma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101528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081894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Derma Gel-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509423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54854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Derma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566051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183439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Derma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390185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573767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Derma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009569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879028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Derma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873202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059924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Convenience + Farmacias Cad + Hard Discounte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26113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783892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Sport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337805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941389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Sport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811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195854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Sport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752959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852022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Sport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140145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996359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Sport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974998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169308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Sport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312126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9080589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Cosmetics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610310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341803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Cosmetics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114810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936349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Cosmetics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718567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901183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Cosmetics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881354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627371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Canal Tradic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78967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485428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Cosmetics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278794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8955833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Cosmetics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64947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6300814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Cosmetics Seru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317228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456398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Cosmetics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577466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5275058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Cosmetics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810025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5840829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Derma Aceit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93473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5759002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Derma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985098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565407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Derma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733692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9876486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Derma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275227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4098422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Derma Gel-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061004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941963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Autos Sc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756820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677654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Derma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693178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4702631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Derma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064166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6379223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Derma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903163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2487368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Derma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674946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5551479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Sport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030414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2242032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Sport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536441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3246675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Sport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756201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7216885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Sport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931281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0261512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Sport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807714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1012175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Sport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526834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75495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218926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9154106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Cosmetics Aceit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989245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5536599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Cosmetics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849335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9654711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Cosmetics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547268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1906927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Cosmetics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95165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1507453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Cosmetics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428824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7402216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Cosmetics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931169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2306788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Cosmetics Seru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924895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8766947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Cosmetics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77316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7856842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Derma Aceit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78413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0696455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Derma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285489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118870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Moderno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521784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5253828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Derma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767279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5462558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Derma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661936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978805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Derma Gel-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203652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9150189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Derma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41572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2603263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Derma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202610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8085213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Derma Spra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800487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0167367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Derma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832893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3215784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Sport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996631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4282662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Sport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26622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7955291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Sport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916450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088987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212047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5237719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Sport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963302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1392619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onvenience + Farmacias Cad + Hard Discounters | Sunscreen Sport Sti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220717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4965719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Cosmetics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173141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2921681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Cosmetics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689478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9833587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Cosmetics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494530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6446087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Cosmetics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206614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9246960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Cosmetics Seru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626446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9518472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Derma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710494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5021535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Derma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678271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9993243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Derma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906785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408957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544303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1670699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Derma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472846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2335159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Sport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208297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6425863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Sport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56073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0408544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Canal Tradicional | Sunscreen Sport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08939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9475574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Cosmetics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35305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3714995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Cosmetics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446205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2407287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Cosmetics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938317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1393719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Cosmetics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454914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48528877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Cosmetics Loci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196665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3962503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2/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Cosmetics Roll-O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005325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241198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0726F4B-CCCE-4FD7-AEEC-E1B68F2D26F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6</TotalTime>
  <Words>17372</Words>
  <Application>Microsoft Office PowerPoint</Application>
  <PresentationFormat>On-screen Show (16:9)</PresentationFormat>
  <Paragraphs>4555</Paragraphs>
  <Slides>170</Slides>
  <Notes>2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70</vt:i4>
      </vt:variant>
    </vt:vector>
  </HeadingPairs>
  <TitlesOfParts>
    <vt:vector size="180"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1</cp:revision>
  <dcterms:created xsi:type="dcterms:W3CDTF">2024-07-05T14:56:51Z</dcterms:created>
  <dcterms:modified xsi:type="dcterms:W3CDTF">2025-07-02T15:17: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